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modernComment_116_8C9CC5D3.xml" ContentType="application/vnd.ms-powerpoint.comments+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443" r:id="rId4"/>
  </p:sldMasterIdLst>
  <p:notesMasterIdLst>
    <p:notesMasterId r:id="rId9"/>
  </p:notesMasterIdLst>
  <p:handoutMasterIdLst>
    <p:handoutMasterId r:id="rId10"/>
  </p:handoutMasterIdLst>
  <p:sldIdLst>
    <p:sldId id="275" r:id="rId5"/>
    <p:sldId id="279" r:id="rId6"/>
    <p:sldId id="278" r:id="rId7"/>
    <p:sldId id="265" r:id="rId8"/>
  </p:sldIdLst>
  <p:sldSz cx="7561263" cy="10693400"/>
  <p:notesSz cx="6797675" cy="9928225"/>
  <p:custDataLst>
    <p:tags r:id="rId11"/>
  </p:custDataLst>
  <p:defaultTextStyle>
    <a:defPPr>
      <a:defRPr lang="en-US"/>
    </a:defPPr>
    <a:lvl1pPr algn="l" defTabSz="1097680" rtl="0" fontAlgn="base">
      <a:spcBef>
        <a:spcPct val="0"/>
      </a:spcBef>
      <a:spcAft>
        <a:spcPct val="0"/>
      </a:spcAft>
      <a:defRPr sz="2200" kern="1200">
        <a:solidFill>
          <a:schemeClr val="tx1"/>
        </a:solidFill>
        <a:latin typeface="Arial" charset="0"/>
        <a:ea typeface="+mn-ea"/>
        <a:cs typeface="Arial" charset="0"/>
      </a:defRPr>
    </a:lvl1pPr>
    <a:lvl2pPr marL="547976" indent="-50131" algn="l" defTabSz="1097680" rtl="0" fontAlgn="base">
      <a:spcBef>
        <a:spcPct val="0"/>
      </a:spcBef>
      <a:spcAft>
        <a:spcPct val="0"/>
      </a:spcAft>
      <a:defRPr sz="2200" kern="1200">
        <a:solidFill>
          <a:schemeClr val="tx1"/>
        </a:solidFill>
        <a:latin typeface="Arial" charset="0"/>
        <a:ea typeface="+mn-ea"/>
        <a:cs typeface="Arial" charset="0"/>
      </a:defRPr>
    </a:lvl2pPr>
    <a:lvl3pPr marL="1097680" indent="-101990" algn="l" defTabSz="1097680" rtl="0" fontAlgn="base">
      <a:spcBef>
        <a:spcPct val="0"/>
      </a:spcBef>
      <a:spcAft>
        <a:spcPct val="0"/>
      </a:spcAft>
      <a:defRPr sz="2200" kern="1200">
        <a:solidFill>
          <a:schemeClr val="tx1"/>
        </a:solidFill>
        <a:latin typeface="Arial" charset="0"/>
        <a:ea typeface="+mn-ea"/>
        <a:cs typeface="Arial" charset="0"/>
      </a:defRPr>
    </a:lvl3pPr>
    <a:lvl4pPr marL="1647384" indent="-153849" algn="l" defTabSz="1097680" rtl="0" fontAlgn="base">
      <a:spcBef>
        <a:spcPct val="0"/>
      </a:spcBef>
      <a:spcAft>
        <a:spcPct val="0"/>
      </a:spcAft>
      <a:defRPr sz="2200" kern="1200">
        <a:solidFill>
          <a:schemeClr val="tx1"/>
        </a:solidFill>
        <a:latin typeface="Arial" charset="0"/>
        <a:ea typeface="+mn-ea"/>
        <a:cs typeface="Arial" charset="0"/>
      </a:defRPr>
    </a:lvl4pPr>
    <a:lvl5pPr marL="2197088" indent="-205707" algn="l" defTabSz="1097680" rtl="0" fontAlgn="base">
      <a:spcBef>
        <a:spcPct val="0"/>
      </a:spcBef>
      <a:spcAft>
        <a:spcPct val="0"/>
      </a:spcAft>
      <a:defRPr sz="2200" kern="1200">
        <a:solidFill>
          <a:schemeClr val="tx1"/>
        </a:solidFill>
        <a:latin typeface="Arial" charset="0"/>
        <a:ea typeface="+mn-ea"/>
        <a:cs typeface="Arial" charset="0"/>
      </a:defRPr>
    </a:lvl5pPr>
    <a:lvl6pPr marL="2489225" algn="l" defTabSz="995690" rtl="0" eaLnBrk="1" latinLnBrk="0" hangingPunct="1">
      <a:defRPr sz="2200" kern="1200">
        <a:solidFill>
          <a:schemeClr val="tx1"/>
        </a:solidFill>
        <a:latin typeface="Arial" charset="0"/>
        <a:ea typeface="+mn-ea"/>
        <a:cs typeface="Arial" charset="0"/>
      </a:defRPr>
    </a:lvl6pPr>
    <a:lvl7pPr marL="2987070" algn="l" defTabSz="995690" rtl="0" eaLnBrk="1" latinLnBrk="0" hangingPunct="1">
      <a:defRPr sz="2200" kern="1200">
        <a:solidFill>
          <a:schemeClr val="tx1"/>
        </a:solidFill>
        <a:latin typeface="Arial" charset="0"/>
        <a:ea typeface="+mn-ea"/>
        <a:cs typeface="Arial" charset="0"/>
      </a:defRPr>
    </a:lvl7pPr>
    <a:lvl8pPr marL="3484916" algn="l" defTabSz="995690" rtl="0" eaLnBrk="1" latinLnBrk="0" hangingPunct="1">
      <a:defRPr sz="2200" kern="1200">
        <a:solidFill>
          <a:schemeClr val="tx1"/>
        </a:solidFill>
        <a:latin typeface="Arial" charset="0"/>
        <a:ea typeface="+mn-ea"/>
        <a:cs typeface="Arial" charset="0"/>
      </a:defRPr>
    </a:lvl8pPr>
    <a:lvl9pPr marL="3982761" algn="l" defTabSz="995690" rtl="0" eaLnBrk="1" latinLnBrk="0" hangingPunct="1">
      <a:defRPr sz="22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5" pos="862" userDrawn="1">
          <p15:clr>
            <a:srgbClr val="A4A3A4"/>
          </p15:clr>
        </p15:guide>
        <p15:guide id="6" pos="318" userDrawn="1">
          <p15:clr>
            <a:srgbClr val="A4A3A4"/>
          </p15:clr>
        </p15:guide>
        <p15:guide id="7" pos="454" userDrawn="1">
          <p15:clr>
            <a:srgbClr val="A4A3A4"/>
          </p15:clr>
        </p15:guide>
        <p15:guide id="12" orient="horz" pos="6520" userDrawn="1">
          <p15:clr>
            <a:srgbClr val="A4A3A4"/>
          </p15:clr>
        </p15:guide>
        <p15:guide id="15" orient="horz" pos="556" userDrawn="1">
          <p15:clr>
            <a:srgbClr val="A4A3A4"/>
          </p15:clr>
        </p15:guide>
        <p15:guide id="16" orient="horz" pos="3141" userDrawn="1">
          <p15:clr>
            <a:srgbClr val="A4A3A4"/>
          </p15:clr>
        </p15:guide>
        <p15:guide id="18" orient="horz" pos="1985" userDrawn="1">
          <p15:clr>
            <a:srgbClr val="A4A3A4"/>
          </p15:clr>
        </p15:guide>
        <p15:guide id="20" orient="horz" pos="6543" userDrawn="1">
          <p15:clr>
            <a:srgbClr val="A4A3A4"/>
          </p15:clr>
        </p15:guide>
        <p15:guide id="21" orient="horz" pos="5704" userDrawn="1">
          <p15:clr>
            <a:srgbClr val="A4A3A4"/>
          </p15:clr>
        </p15:guide>
        <p15:guide id="24" orient="horz" pos="6407" userDrawn="1">
          <p15:clr>
            <a:srgbClr val="A4A3A4"/>
          </p15:clr>
        </p15:guide>
        <p15:guide id="26" orient="horz" pos="3617" userDrawn="1">
          <p15:clr>
            <a:srgbClr val="A4A3A4"/>
          </p15:clr>
        </p15:guide>
        <p15:guide id="27" pos="2404" userDrawn="1">
          <p15:clr>
            <a:srgbClr val="A4A3A4"/>
          </p15:clr>
        </p15:guide>
        <p15:guide id="28" pos="2472" userDrawn="1">
          <p15:clr>
            <a:srgbClr val="A4A3A4"/>
          </p15:clr>
        </p15:guide>
        <p15:guide id="30" orient="horz" pos="5114" userDrawn="1">
          <p15:clr>
            <a:srgbClr val="A4A3A4"/>
          </p15:clr>
        </p15:guide>
      </p15:sldGuideLst>
    </p:ext>
    <p:ext uri="{2D200454-40CA-4A62-9FC3-DE9A4176ACB9}">
      <p15:notesGuideLst xmlns:p15="http://schemas.microsoft.com/office/powerpoint/2012/main">
        <p15:guide id="1" orient="horz" pos="126" userDrawn="1">
          <p15:clr>
            <a:srgbClr val="A4A3A4"/>
          </p15:clr>
        </p15:guide>
        <p15:guide id="2" pos="190" userDrawn="1">
          <p15:clr>
            <a:srgbClr val="A4A3A4"/>
          </p15:clr>
        </p15:guide>
        <p15:guide id="3" pos="409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23EADA5-4582-228E-BA58-D48D1D366463}" name="Reimar Salzmann" initials="RS" userId="S::reimar.salzmann@db.com::43d125a0-0a3c-4445-bb74-4d5aec920013" providerId="AD"/>
  <p188:author id="{EABBA4D5-663E-2085-D66D-68F07CC403FF}" name="Anke Lilischkis" initials="AL" userId="S::anke.lilischkis@db.com::78f0028b-847a-4988-af00-eac7aac8831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Marco Wieland | screenmakers" initials="scr MW" lastIdx="3" clrIdx="0"/>
  <p:cmAuthor id="7" name="Anke Lilischkis" initials="AL [2]" lastIdx="3" clrIdx="7">
    <p:extLst>
      <p:ext uri="{19B8F6BF-5375-455C-9EA6-DF929625EA0E}">
        <p15:presenceInfo xmlns:p15="http://schemas.microsoft.com/office/powerpoint/2012/main" userId="S::anke.lilischkis@db.com::78f0028b-847a-4988-af00-eac7aac88310" providerId="AD"/>
      </p:ext>
    </p:extLst>
  </p:cmAuthor>
  <p:cmAuthor id="1" name="Kai Makus" initials="KM" lastIdx="85" clrIdx="1">
    <p:extLst>
      <p:ext uri="{19B8F6BF-5375-455C-9EA6-DF929625EA0E}">
        <p15:presenceInfo xmlns:p15="http://schemas.microsoft.com/office/powerpoint/2012/main" userId="f247213a9c933f3a" providerId="Windows Live"/>
      </p:ext>
    </p:extLst>
  </p:cmAuthor>
  <p:cmAuthor id="8" name="Kathrin Mahr" initials="KM [2]" lastIdx="4" clrIdx="8">
    <p:extLst>
      <p:ext uri="{19B8F6BF-5375-455C-9EA6-DF929625EA0E}">
        <p15:presenceInfo xmlns:p15="http://schemas.microsoft.com/office/powerpoint/2012/main" userId="S::kathrin.mahr@db.com::6968b5fd-d0fd-449e-a5cb-ffa049219fcb" providerId="AD"/>
      </p:ext>
    </p:extLst>
  </p:cmAuthor>
  <p:cmAuthor id="2" name="Reimar Salzmann" initials="RS" lastIdx="7" clrIdx="2">
    <p:extLst>
      <p:ext uri="{19B8F6BF-5375-455C-9EA6-DF929625EA0E}">
        <p15:presenceInfo xmlns:p15="http://schemas.microsoft.com/office/powerpoint/2012/main" userId="S-1-5-21-1650336054-1974872081-316617838-583346" providerId="AD"/>
      </p:ext>
    </p:extLst>
  </p:cmAuthor>
  <p:cmAuthor id="3" name="Kathrin Mahr" initials="KM" lastIdx="5" clrIdx="3">
    <p:extLst>
      <p:ext uri="{19B8F6BF-5375-455C-9EA6-DF929625EA0E}">
        <p15:presenceInfo xmlns:p15="http://schemas.microsoft.com/office/powerpoint/2012/main" userId="S-1-5-21-1650336054-1974872081-316617838-374521" providerId="AD"/>
      </p:ext>
    </p:extLst>
  </p:cmAuthor>
  <p:cmAuthor id="4" name="Anke Lilischkis" initials="AL" lastIdx="1" clrIdx="4">
    <p:extLst>
      <p:ext uri="{19B8F6BF-5375-455C-9EA6-DF929625EA0E}">
        <p15:presenceInfo xmlns:p15="http://schemas.microsoft.com/office/powerpoint/2012/main" userId="S-1-5-21-1650336054-1974872081-316617838-375316" providerId="AD"/>
      </p:ext>
    </p:extLst>
  </p:cmAuthor>
  <p:cmAuthor id="5" name="Reimar Salzmann" initials="RS [2]" lastIdx="18" clrIdx="5">
    <p:extLst>
      <p:ext uri="{19B8F6BF-5375-455C-9EA6-DF929625EA0E}">
        <p15:presenceInfo xmlns:p15="http://schemas.microsoft.com/office/powerpoint/2012/main" userId="S::reimar.salzmann@db.com::43d125a0-0a3c-4445-bb74-4d5aec920013" providerId="AD"/>
      </p:ext>
    </p:extLst>
  </p:cmAuthor>
  <p:cmAuthor id="6" name="Sabina Diaz-Duque" initials="SDD" lastIdx="2" clrIdx="6">
    <p:extLst>
      <p:ext uri="{19B8F6BF-5375-455C-9EA6-DF929625EA0E}">
        <p15:presenceInfo xmlns:p15="http://schemas.microsoft.com/office/powerpoint/2012/main" userId="S::sabina.diaz-duque@db.com::81c710cd-cf54-445d-ba24-2d461a5bcfa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CA0B"/>
    <a:srgbClr val="B7C5C8"/>
    <a:srgbClr val="E8C64D"/>
    <a:srgbClr val="ABD654"/>
    <a:srgbClr val="D1D1D1"/>
    <a:srgbClr val="9B9B9B"/>
    <a:srgbClr val="E84057"/>
    <a:srgbClr val="BCB3A8"/>
    <a:srgbClr val="FF9900"/>
    <a:srgbClr val="00486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43" autoAdjust="0"/>
    <p:restoredTop sz="92828" autoAdjust="0"/>
  </p:normalViewPr>
  <p:slideViewPr>
    <p:cSldViewPr snapToGrid="0" showGuides="1">
      <p:cViewPr>
        <p:scale>
          <a:sx n="150" d="100"/>
          <a:sy n="150" d="100"/>
        </p:scale>
        <p:origin x="768" y="-5616"/>
      </p:cViewPr>
      <p:guideLst>
        <p:guide pos="862"/>
        <p:guide pos="318"/>
        <p:guide pos="454"/>
        <p:guide orient="horz" pos="6520"/>
        <p:guide orient="horz" pos="556"/>
        <p:guide orient="horz" pos="3141"/>
        <p:guide orient="horz" pos="1985"/>
        <p:guide orient="horz" pos="6543"/>
        <p:guide orient="horz" pos="5704"/>
        <p:guide orient="horz" pos="6407"/>
        <p:guide orient="horz" pos="3617"/>
        <p:guide pos="2404"/>
        <p:guide pos="2472"/>
        <p:guide orient="horz" pos="5114"/>
      </p:guideLst>
    </p:cSldViewPr>
  </p:slideViewPr>
  <p:outlineViewPr>
    <p:cViewPr>
      <p:scale>
        <a:sx n="33" d="100"/>
        <a:sy n="33" d="100"/>
      </p:scale>
      <p:origin x="0" y="-2992"/>
    </p:cViewPr>
  </p:outlin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78" d="100"/>
          <a:sy n="78" d="100"/>
        </p:scale>
        <p:origin x="-4008" y="-108"/>
      </p:cViewPr>
      <p:guideLst>
        <p:guide orient="horz" pos="126"/>
        <p:guide pos="190"/>
        <p:guide pos="4092"/>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commentAuthors" Target="commentAuthors.xml"/><Relationship Id="rId17" Type="http://schemas.microsoft.com/office/2018/10/relationships/authors" Target="authors.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viewProps" Target="viewProps.xml"/></Relationships>
</file>

<file path=ppt/comments/modernComment_116_8C9CC5D3.xml><?xml version="1.0" encoding="utf-8"?>
<p188:cmLst xmlns:a="http://schemas.openxmlformats.org/drawingml/2006/main" xmlns:r="http://schemas.openxmlformats.org/officeDocument/2006/relationships" xmlns:p188="http://schemas.microsoft.com/office/powerpoint/2018/8/main">
  <p188:cm id="{D8FCCFBE-273D-4BFB-870A-58885049E454}" authorId="{D23EADA5-4582-228E-BA58-D48D1D366463}" created="2026-02-06T14:21:01.304">
    <ac:deMkLst xmlns:ac="http://schemas.microsoft.com/office/drawing/2013/main/command">
      <pc:docMk xmlns:pc="http://schemas.microsoft.com/office/powerpoint/2013/main/command"/>
      <pc:sldMk xmlns:pc="http://schemas.microsoft.com/office/powerpoint/2013/main/command" cId="2359084499" sldId="278"/>
      <ac:spMk id="558" creationId="{AA5C1F65-1C1A-F965-0DAA-BB6880281F7D}"/>
    </ac:deMkLst>
    <p188:txBody>
      <a:bodyPr/>
      <a:lstStyle/>
      <a:p>
        <a:r>
          <a:rPr lang="de-DE"/>
          <a:t>Englische Legende plus</a:t>
        </a:r>
      </a:p>
    </p188:txBody>
  </p188:cm>
</p188:cmLst>
</file>

<file path=ppt/handoutMasters/_rels/handoutMaster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6" name="Foliennummernplatzhalter 6"/>
          <p:cNvSpPr>
            <a:spLocks noGrp="1"/>
          </p:cNvSpPr>
          <p:nvPr>
            <p:ph type="sldNum" sz="quarter" idx="3"/>
          </p:nvPr>
        </p:nvSpPr>
        <p:spPr>
          <a:xfrm>
            <a:off x="291619" y="478036"/>
            <a:ext cx="504236" cy="143216"/>
          </a:xfrm>
          <a:prstGeom prst="rect">
            <a:avLst/>
          </a:prstGeom>
        </p:spPr>
        <p:txBody>
          <a:bodyPr vert="horz" lIns="0" tIns="0" rIns="0" bIns="0" rtlCol="0" anchor="b">
            <a:spAutoFit/>
          </a:bodyPr>
          <a:lstStyle>
            <a:lvl1pPr algn="l">
              <a:defRPr sz="900">
                <a:solidFill>
                  <a:schemeClr val="bg1"/>
                </a:solidFill>
              </a:defRPr>
            </a:lvl1pPr>
          </a:lstStyle>
          <a:p>
            <a:fld id="{6143C426-1A6B-4A48-BA36-7E6A716747FB}" type="slidenum">
              <a:rPr lang="de-DE" smtClean="0"/>
              <a:pPr/>
              <a:t>‹N›</a:t>
            </a:fld>
            <a:endParaRPr lang="de-DE" dirty="0"/>
          </a:p>
        </p:txBody>
      </p:sp>
      <p:sp>
        <p:nvSpPr>
          <p:cNvPr id="7" name="TextBox 8"/>
          <p:cNvSpPr txBox="1"/>
          <p:nvPr/>
        </p:nvSpPr>
        <p:spPr bwMode="gray">
          <a:xfrm>
            <a:off x="291618" y="128753"/>
            <a:ext cx="1173398" cy="317045"/>
          </a:xfrm>
          <a:prstGeom prst="rect">
            <a:avLst/>
          </a:prstGeom>
          <a:noFill/>
        </p:spPr>
        <p:txBody>
          <a:bodyPr wrap="none" lIns="0" tIns="39659" rIns="0" bIns="0">
            <a:spAutoFit/>
          </a:bodyPr>
          <a:lstStyle/>
          <a:p>
            <a:pPr algn="l">
              <a:defRPr/>
            </a:pPr>
            <a:r>
              <a:rPr lang="en-GB" sz="900" dirty="0">
                <a:solidFill>
                  <a:schemeClr val="bg2"/>
                </a:solidFill>
              </a:rPr>
              <a:t>Deutsche Asset</a:t>
            </a:r>
          </a:p>
          <a:p>
            <a:pPr algn="l">
              <a:defRPr/>
            </a:pPr>
            <a:r>
              <a:rPr lang="en-GB" sz="900" dirty="0">
                <a:solidFill>
                  <a:schemeClr val="bg2"/>
                </a:solidFill>
              </a:rPr>
              <a:t>&amp; Wealth Management</a:t>
            </a:r>
          </a:p>
        </p:txBody>
      </p:sp>
      <p:pic>
        <p:nvPicPr>
          <p:cNvPr id="8" name="Picture 1"/>
          <p:cNvPicPr>
            <a:picLocks noChangeAspect="1" noChangeArrowheads="1"/>
          </p:cNvPicPr>
          <p:nvPr/>
        </p:nvPicPr>
        <p:blipFill>
          <a:blip r:embed="rId2" cstate="print"/>
          <a:srcRect/>
          <a:stretch>
            <a:fillRect/>
          </a:stretch>
        </p:blipFill>
        <p:spPr bwMode="auto">
          <a:xfrm>
            <a:off x="6093137" y="200922"/>
            <a:ext cx="396613" cy="397317"/>
          </a:xfrm>
          <a:prstGeom prst="rect">
            <a:avLst/>
          </a:prstGeom>
          <a:noFill/>
          <a:ln w="9525">
            <a:noFill/>
            <a:miter lim="800000"/>
            <a:headEnd/>
            <a:tailEnd/>
          </a:ln>
          <a:effectLst/>
        </p:spPr>
      </p:pic>
    </p:spTree>
    <p:extLst>
      <p:ext uri="{BB962C8B-B14F-4D97-AF65-F5344CB8AC3E}">
        <p14:creationId xmlns:p14="http://schemas.microsoft.com/office/powerpoint/2010/main" val="12150525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2082800" y="819150"/>
            <a:ext cx="2632075" cy="3722688"/>
          </a:xfrm>
          <a:prstGeom prst="rect">
            <a:avLst/>
          </a:prstGeom>
          <a:noFill/>
          <a:ln w="12700">
            <a:solidFill>
              <a:prstClr val="black"/>
            </a:solidFill>
          </a:ln>
        </p:spPr>
        <p:txBody>
          <a:bodyPr vert="horz" lIns="91577" tIns="45789" rIns="91577" bIns="45789" rtlCol="0" anchor="ctr"/>
          <a:lstStyle/>
          <a:p>
            <a:endParaRPr lang="de-DE" dirty="0"/>
          </a:p>
        </p:txBody>
      </p:sp>
      <p:sp>
        <p:nvSpPr>
          <p:cNvPr id="5" name="Notizenplatzhalter 4"/>
          <p:cNvSpPr>
            <a:spLocks noGrp="1"/>
          </p:cNvSpPr>
          <p:nvPr>
            <p:ph type="body" sz="quarter" idx="3"/>
          </p:nvPr>
        </p:nvSpPr>
        <p:spPr>
          <a:xfrm>
            <a:off x="679768" y="4790500"/>
            <a:ext cx="5438140" cy="4467701"/>
          </a:xfrm>
          <a:prstGeom prst="rect">
            <a:avLst/>
          </a:prstGeom>
        </p:spPr>
        <p:txBody>
          <a:bodyPr vert="horz" lIns="91577" tIns="45789" rIns="91577" bIns="45789" rtlCol="0">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Foliennummernplatzhalter 6"/>
          <p:cNvSpPr>
            <a:spLocks noGrp="1"/>
          </p:cNvSpPr>
          <p:nvPr>
            <p:ph type="sldNum" sz="quarter" idx="5"/>
          </p:nvPr>
        </p:nvSpPr>
        <p:spPr>
          <a:xfrm>
            <a:off x="291619" y="478036"/>
            <a:ext cx="504236" cy="143216"/>
          </a:xfrm>
          <a:prstGeom prst="rect">
            <a:avLst/>
          </a:prstGeom>
        </p:spPr>
        <p:txBody>
          <a:bodyPr vert="horz" lIns="0" tIns="0" rIns="0" bIns="0" rtlCol="0" anchor="b">
            <a:spAutoFit/>
          </a:bodyPr>
          <a:lstStyle>
            <a:lvl1pPr algn="l">
              <a:defRPr sz="900">
                <a:solidFill>
                  <a:schemeClr val="bg1"/>
                </a:solidFill>
              </a:defRPr>
            </a:lvl1pPr>
          </a:lstStyle>
          <a:p>
            <a:fld id="{6143C426-1A6B-4A48-BA36-7E6A716747FB}" type="slidenum">
              <a:rPr lang="de-DE" smtClean="0"/>
              <a:pPr/>
              <a:t>‹N›</a:t>
            </a:fld>
            <a:endParaRPr lang="de-DE" dirty="0"/>
          </a:p>
        </p:txBody>
      </p:sp>
      <p:sp>
        <p:nvSpPr>
          <p:cNvPr id="8" name="TextBox 8"/>
          <p:cNvSpPr txBox="1"/>
          <p:nvPr/>
        </p:nvSpPr>
        <p:spPr bwMode="gray">
          <a:xfrm>
            <a:off x="291618" y="128753"/>
            <a:ext cx="1173398" cy="317045"/>
          </a:xfrm>
          <a:prstGeom prst="rect">
            <a:avLst/>
          </a:prstGeom>
          <a:noFill/>
        </p:spPr>
        <p:txBody>
          <a:bodyPr wrap="none" lIns="0" tIns="39659" rIns="0" bIns="0">
            <a:spAutoFit/>
          </a:bodyPr>
          <a:lstStyle/>
          <a:p>
            <a:pPr algn="l">
              <a:defRPr/>
            </a:pPr>
            <a:r>
              <a:rPr lang="en-GB" sz="900" kern="1200" noProof="0" dirty="0">
                <a:solidFill>
                  <a:schemeClr val="bg2"/>
                </a:solidFill>
                <a:latin typeface="Arial" charset="0"/>
                <a:ea typeface="+mn-ea"/>
                <a:cs typeface="Arial" charset="0"/>
              </a:rPr>
              <a:t>Deutsche Asset</a:t>
            </a:r>
          </a:p>
          <a:p>
            <a:pPr algn="l">
              <a:defRPr/>
            </a:pPr>
            <a:r>
              <a:rPr lang="en-GB" sz="900" kern="1200" noProof="0" dirty="0">
                <a:solidFill>
                  <a:schemeClr val="bg2"/>
                </a:solidFill>
                <a:latin typeface="Arial" charset="0"/>
                <a:ea typeface="+mn-ea"/>
                <a:cs typeface="Arial" charset="0"/>
              </a:rPr>
              <a:t>&amp; Wealth Management</a:t>
            </a:r>
          </a:p>
        </p:txBody>
      </p:sp>
      <p:pic>
        <p:nvPicPr>
          <p:cNvPr id="9" name="Picture 1"/>
          <p:cNvPicPr>
            <a:picLocks noChangeAspect="1" noChangeArrowheads="1"/>
          </p:cNvPicPr>
          <p:nvPr/>
        </p:nvPicPr>
        <p:blipFill>
          <a:blip r:embed="rId2" cstate="print"/>
          <a:srcRect/>
          <a:stretch>
            <a:fillRect/>
          </a:stretch>
        </p:blipFill>
        <p:spPr bwMode="auto">
          <a:xfrm>
            <a:off x="6093137" y="200922"/>
            <a:ext cx="396613" cy="397317"/>
          </a:xfrm>
          <a:prstGeom prst="rect">
            <a:avLst/>
          </a:prstGeom>
          <a:noFill/>
          <a:ln w="9525">
            <a:noFill/>
            <a:miter lim="800000"/>
            <a:headEnd/>
            <a:tailEnd/>
          </a:ln>
          <a:effectLst/>
        </p:spPr>
      </p:pic>
    </p:spTree>
    <p:extLst>
      <p:ext uri="{BB962C8B-B14F-4D97-AF65-F5344CB8AC3E}">
        <p14:creationId xmlns:p14="http://schemas.microsoft.com/office/powerpoint/2010/main" val="1661922404"/>
      </p:ext>
    </p:extLst>
  </p:cSld>
  <p:clrMap bg1="lt1" tx1="dk1" bg2="lt2" tx2="dk2" accent1="accent1" accent2="accent2" accent3="accent3" accent4="accent4" accent5="accent5" accent6="accent6" hlink="hlink" folHlink="folHlink"/>
  <p:notesStyle>
    <a:lvl1pPr marL="0" algn="l" defTabSz="995690" rtl="0" eaLnBrk="1" latinLnBrk="0" hangingPunct="1">
      <a:spcBef>
        <a:spcPts val="1307"/>
      </a:spcBef>
      <a:defRPr sz="1300" kern="1200">
        <a:solidFill>
          <a:schemeClr val="accent1"/>
        </a:solidFill>
        <a:latin typeface="+mn-lt"/>
        <a:ea typeface="+mn-ea"/>
        <a:cs typeface="+mn-cs"/>
      </a:defRPr>
    </a:lvl1pPr>
    <a:lvl2pPr marL="5186" indent="0" algn="l" defTabSz="995690" rtl="0" eaLnBrk="1" latinLnBrk="0" hangingPunct="1">
      <a:spcBef>
        <a:spcPts val="1089"/>
      </a:spcBef>
      <a:buClr>
        <a:schemeClr val="bg2"/>
      </a:buClr>
      <a:buFont typeface="Arial" pitchFamily="34" charset="0"/>
      <a:buNone/>
      <a:defRPr sz="1300" kern="1200">
        <a:solidFill>
          <a:schemeClr val="bg2"/>
        </a:solidFill>
        <a:latin typeface="+mn-lt"/>
        <a:ea typeface="+mn-ea"/>
        <a:cs typeface="+mn-cs"/>
      </a:defRPr>
    </a:lvl2pPr>
    <a:lvl3pPr marL="286952" indent="-286952" algn="l" defTabSz="995690" rtl="0" eaLnBrk="1" latinLnBrk="0" hangingPunct="1">
      <a:spcBef>
        <a:spcPts val="871"/>
      </a:spcBef>
      <a:buClr>
        <a:schemeClr val="bg2"/>
      </a:buClr>
      <a:buFont typeface="Arial" pitchFamily="34" charset="0"/>
      <a:buChar char="—"/>
      <a:defRPr sz="1300" kern="1200">
        <a:solidFill>
          <a:schemeClr val="bg2"/>
        </a:solidFill>
        <a:latin typeface="+mn-lt"/>
        <a:ea typeface="+mn-ea"/>
        <a:cs typeface="+mn-cs"/>
      </a:defRPr>
    </a:lvl3pPr>
    <a:lvl4pPr marL="586006" indent="-305968" algn="l" defTabSz="995690" rtl="0" eaLnBrk="1" latinLnBrk="0" hangingPunct="1">
      <a:spcBef>
        <a:spcPts val="436"/>
      </a:spcBef>
      <a:buClr>
        <a:schemeClr val="bg2"/>
      </a:buClr>
      <a:buFont typeface="Arial" pitchFamily="34" charset="0"/>
      <a:buChar char="—"/>
      <a:defRPr sz="1300" kern="1200">
        <a:solidFill>
          <a:schemeClr val="bg2"/>
        </a:solidFill>
        <a:latin typeface="+mn-lt"/>
        <a:ea typeface="+mn-ea"/>
        <a:cs typeface="+mn-cs"/>
      </a:defRPr>
    </a:lvl4pPr>
    <a:lvl5pPr marL="872958" indent="-286952" algn="l" defTabSz="995690" rtl="0" eaLnBrk="1" latinLnBrk="0" hangingPunct="1">
      <a:spcBef>
        <a:spcPts val="436"/>
      </a:spcBef>
      <a:buClr>
        <a:schemeClr val="bg2"/>
      </a:buClr>
      <a:buFont typeface="Arial" pitchFamily="34" charset="0"/>
      <a:buChar char="—"/>
      <a:defRPr sz="1300" kern="1200">
        <a:solidFill>
          <a:schemeClr val="bg2"/>
        </a:solidFill>
        <a:latin typeface="+mn-lt"/>
        <a:ea typeface="+mn-ea"/>
        <a:cs typeface="+mn-cs"/>
      </a:defRPr>
    </a:lvl5pPr>
    <a:lvl6pPr marL="2489225" algn="l" defTabSz="995690" rtl="0" eaLnBrk="1" latinLnBrk="0" hangingPunct="1">
      <a:defRPr sz="1300" kern="1200">
        <a:solidFill>
          <a:schemeClr val="tx1"/>
        </a:solidFill>
        <a:latin typeface="+mn-lt"/>
        <a:ea typeface="+mn-ea"/>
        <a:cs typeface="+mn-cs"/>
      </a:defRPr>
    </a:lvl6pPr>
    <a:lvl7pPr marL="2987070" algn="l" defTabSz="995690" rtl="0" eaLnBrk="1" latinLnBrk="0" hangingPunct="1">
      <a:defRPr sz="1300" kern="1200">
        <a:solidFill>
          <a:schemeClr val="tx1"/>
        </a:solidFill>
        <a:latin typeface="+mn-lt"/>
        <a:ea typeface="+mn-ea"/>
        <a:cs typeface="+mn-cs"/>
      </a:defRPr>
    </a:lvl7pPr>
    <a:lvl8pPr marL="3484916" algn="l" defTabSz="995690" rtl="0" eaLnBrk="1" latinLnBrk="0" hangingPunct="1">
      <a:defRPr sz="1300" kern="1200">
        <a:solidFill>
          <a:schemeClr val="tx1"/>
        </a:solidFill>
        <a:latin typeface="+mn-lt"/>
        <a:ea typeface="+mn-ea"/>
        <a:cs typeface="+mn-cs"/>
      </a:defRPr>
    </a:lvl8pPr>
    <a:lvl9pPr marL="3982761" algn="l" defTabSz="995690"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143C426-1A6B-4A48-BA36-7E6A716747FB}" type="slidenum">
              <a:rPr lang="de-DE" smtClean="0"/>
              <a:pPr/>
              <a:t>1</a:t>
            </a:fld>
            <a:endParaRPr lang="de-DE" dirty="0"/>
          </a:p>
        </p:txBody>
      </p:sp>
    </p:spTree>
    <p:extLst>
      <p:ext uri="{BB962C8B-B14F-4D97-AF65-F5344CB8AC3E}">
        <p14:creationId xmlns:p14="http://schemas.microsoft.com/office/powerpoint/2010/main" val="10383413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143C426-1A6B-4A48-BA36-7E6A716747FB}" type="slidenum">
              <a:rPr lang="de-DE" smtClean="0"/>
              <a:pPr/>
              <a:t>2</a:t>
            </a:fld>
            <a:endParaRPr lang="de-DE" dirty="0"/>
          </a:p>
        </p:txBody>
      </p:sp>
    </p:spTree>
    <p:extLst>
      <p:ext uri="{BB962C8B-B14F-4D97-AF65-F5344CB8AC3E}">
        <p14:creationId xmlns:p14="http://schemas.microsoft.com/office/powerpoint/2010/main" val="19259991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1" dirty="0"/>
          </a:p>
        </p:txBody>
      </p:sp>
      <p:sp>
        <p:nvSpPr>
          <p:cNvPr id="4" name="Foliennummernplatzhalter 3"/>
          <p:cNvSpPr>
            <a:spLocks noGrp="1"/>
          </p:cNvSpPr>
          <p:nvPr>
            <p:ph type="sldNum" sz="quarter" idx="10"/>
          </p:nvPr>
        </p:nvSpPr>
        <p:spPr/>
        <p:txBody>
          <a:bodyPr/>
          <a:lstStyle/>
          <a:p>
            <a:fld id="{6143C426-1A6B-4A48-BA36-7E6A716747FB}" type="slidenum">
              <a:rPr lang="de-DE" smtClean="0"/>
              <a:pPr/>
              <a:t>3</a:t>
            </a:fld>
            <a:endParaRPr lang="de-DE" dirty="0"/>
          </a:p>
        </p:txBody>
      </p:sp>
    </p:spTree>
    <p:extLst>
      <p:ext uri="{BB962C8B-B14F-4D97-AF65-F5344CB8AC3E}">
        <p14:creationId xmlns:p14="http://schemas.microsoft.com/office/powerpoint/2010/main" val="27350543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143C426-1A6B-4A48-BA36-7E6A716747FB}" type="slidenum">
              <a:rPr lang="de-DE" smtClean="0"/>
              <a:pPr/>
              <a:t>4</a:t>
            </a:fld>
            <a:endParaRPr lang="de-DE" dirty="0"/>
          </a:p>
        </p:txBody>
      </p:sp>
    </p:spTree>
    <p:extLst>
      <p:ext uri="{BB962C8B-B14F-4D97-AF65-F5344CB8AC3E}">
        <p14:creationId xmlns:p14="http://schemas.microsoft.com/office/powerpoint/2010/main" val="34611864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rkt &amp; Makro I">
    <p:spTree>
      <p:nvGrpSpPr>
        <p:cNvPr id="1" name=""/>
        <p:cNvGrpSpPr/>
        <p:nvPr/>
      </p:nvGrpSpPr>
      <p:grpSpPr>
        <a:xfrm>
          <a:off x="0" y="0"/>
          <a:ext cx="0" cy="0"/>
          <a:chOff x="0" y="0"/>
          <a:chExt cx="0" cy="0"/>
        </a:xfrm>
      </p:grpSpPr>
      <p:graphicFrame>
        <p:nvGraphicFramePr>
          <p:cNvPr id="20" name="Objekt 19" hidden="1">
            <a:extLst>
              <a:ext uri="{FF2B5EF4-FFF2-40B4-BE49-F238E27FC236}">
                <a16:creationId xmlns:a16="http://schemas.microsoft.com/office/drawing/2014/main" id="{6891F096-6043-4BF9-8371-D1A126016511}"/>
              </a:ext>
            </a:extLst>
          </p:cNvPr>
          <p:cNvGraphicFramePr>
            <a:graphicFrameLocks noChangeAspect="1"/>
          </p:cNvGraphicFramePr>
          <p:nvPr userDrawn="1">
            <p:custDataLst>
              <p:tags r:id="rId1"/>
            </p:custDataLst>
            <p:extLst>
              <p:ext uri="{D42A27DB-BD31-4B8C-83A1-F6EECF244321}">
                <p14:modId xmlns:p14="http://schemas.microsoft.com/office/powerpoint/2010/main" val="2409006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0" name="Objekt 19" hidden="1">
                        <a:extLst>
                          <a:ext uri="{FF2B5EF4-FFF2-40B4-BE49-F238E27FC236}">
                            <a16:creationId xmlns:a16="http://schemas.microsoft.com/office/drawing/2014/main" id="{6891F096-6043-4BF9-8371-D1A1260165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hteck 18" hidden="1">
            <a:extLst>
              <a:ext uri="{FF2B5EF4-FFF2-40B4-BE49-F238E27FC236}">
                <a16:creationId xmlns:a16="http://schemas.microsoft.com/office/drawing/2014/main" id="{6DEFFC93-5A73-4669-9294-867CE1AD2CF7}"/>
              </a:ext>
            </a:extLst>
          </p:cNvPr>
          <p:cNvSpPr/>
          <p:nvPr userDrawn="1">
            <p:custDataLst>
              <p:tags r:id="rId2"/>
            </p:custDataLst>
          </p:nvPr>
        </p:nvSpPr>
        <p:spPr bwMode="auto">
          <a:xfrm>
            <a:off x="0" y="0"/>
            <a:ext cx="158750" cy="158750"/>
          </a:xfrm>
          <a:prstGeom prst="rect">
            <a:avLst/>
          </a:prstGeom>
          <a:solidFill>
            <a:srgbClr val="E6EAEE"/>
          </a:solidFill>
          <a:ln w="6350">
            <a:solidFill>
              <a:srgbClr val="E6EAEE"/>
            </a:solidFill>
            <a:miter lim="800000"/>
            <a:headEnd/>
            <a:tailEnd/>
          </a:ln>
        </p:spPr>
        <p:txBody>
          <a:bodyPr vert="horz" wrap="none" lIns="0" tIns="0" rIns="0" bIns="0" numCol="1" spcCol="0" rtlCol="0" anchor="ctr" anchorCtr="0">
            <a:noAutofit/>
          </a:bodyPr>
          <a:lstStyle/>
          <a:p>
            <a:pPr marL="0" lvl="0" indent="0" algn="ctr" defTabSz="963613" eaLnBrk="0" hangingPunct="0">
              <a:spcBef>
                <a:spcPts val="800"/>
              </a:spcBef>
              <a:buClr>
                <a:schemeClr val="tx1"/>
              </a:buClr>
              <a:buFontTx/>
              <a:buNone/>
              <a:tabLst>
                <a:tab pos="1257300" algn="l"/>
              </a:tabLst>
            </a:pPr>
            <a:endParaRPr lang="en-US" sz="1600" b="0" i="0" baseline="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el 1">
            <a:extLst>
              <a:ext uri="{FF2B5EF4-FFF2-40B4-BE49-F238E27FC236}">
                <a16:creationId xmlns:a16="http://schemas.microsoft.com/office/drawing/2014/main" id="{AB4C2818-3ED9-40FD-A530-B3A8B386744C}"/>
              </a:ext>
            </a:extLst>
          </p:cNvPr>
          <p:cNvSpPr>
            <a:spLocks noGrp="1"/>
          </p:cNvSpPr>
          <p:nvPr>
            <p:ph type="title" hasCustomPrompt="1"/>
          </p:nvPr>
        </p:nvSpPr>
        <p:spPr bwMode="gray">
          <a:xfrm>
            <a:off x="612775" y="2779673"/>
            <a:ext cx="6335713" cy="233910"/>
          </a:xfrm>
        </p:spPr>
        <p:txBody>
          <a:bodyPr/>
          <a:lstStyle>
            <a:lvl1pPr>
              <a:defRPr sz="1600" b="0">
                <a:solidFill>
                  <a:schemeClr val="bg2"/>
                </a:solidFill>
                <a:latin typeface="DWS Sans Light" panose="02010404010101010104" pitchFamily="50" charset="0"/>
                <a:cs typeface="DWS Sans Light" panose="02010404010101010104" pitchFamily="50" charset="0"/>
              </a:defRPr>
            </a:lvl1pPr>
          </a:lstStyle>
          <a:p>
            <a:r>
              <a:rPr lang="en-US" dirty="0"/>
              <a:t>Placeholder title</a:t>
            </a:r>
            <a:endParaRPr lang="de-DE" dirty="0"/>
          </a:p>
        </p:txBody>
      </p:sp>
      <p:sp>
        <p:nvSpPr>
          <p:cNvPr id="25" name="Textplatzhalter 12">
            <a:extLst>
              <a:ext uri="{FF2B5EF4-FFF2-40B4-BE49-F238E27FC236}">
                <a16:creationId xmlns:a16="http://schemas.microsoft.com/office/drawing/2014/main" id="{CDA5A2BA-F61B-41BF-B79F-B5BB15BD5D3E}"/>
              </a:ext>
            </a:extLst>
          </p:cNvPr>
          <p:cNvSpPr>
            <a:spLocks noGrp="1"/>
          </p:cNvSpPr>
          <p:nvPr>
            <p:ph type="body" sz="quarter" idx="15" hasCustomPrompt="1"/>
          </p:nvPr>
        </p:nvSpPr>
        <p:spPr bwMode="gray">
          <a:xfrm>
            <a:off x="612278" y="2502384"/>
            <a:ext cx="173124" cy="169277"/>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1100" b="0">
                <a:solidFill>
                  <a:schemeClr val="accent2"/>
                </a:solidFill>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X</a:t>
            </a:r>
          </a:p>
        </p:txBody>
      </p:sp>
      <p:sp>
        <p:nvSpPr>
          <p:cNvPr id="29" name="Textplatzhalter 12">
            <a:extLst>
              <a:ext uri="{FF2B5EF4-FFF2-40B4-BE49-F238E27FC236}">
                <a16:creationId xmlns:a16="http://schemas.microsoft.com/office/drawing/2014/main" id="{EEF72869-3591-49DF-B605-493E2787BF59}"/>
              </a:ext>
            </a:extLst>
          </p:cNvPr>
          <p:cNvSpPr>
            <a:spLocks noGrp="1"/>
          </p:cNvSpPr>
          <p:nvPr>
            <p:ph type="body" sz="quarter" idx="16" hasCustomPrompt="1"/>
          </p:nvPr>
        </p:nvSpPr>
        <p:spPr bwMode="gray">
          <a:xfrm>
            <a:off x="828303" y="2502384"/>
            <a:ext cx="6120680" cy="169277"/>
          </a:xfrm>
        </p:spPr>
        <p:txBody>
          <a:bodyPr wrap="squar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1100" b="0">
                <a:solidFill>
                  <a:schemeClr val="accent3"/>
                </a:solidFill>
                <a:latin typeface="DWS Slab Light" panose="02010404010101010104" pitchFamily="50" charset="0"/>
                <a:cs typeface="DWS Slab Light" panose="02010404010101010104" pitchFamily="50" charset="0"/>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Placeholder Chapter</a:t>
            </a:r>
          </a:p>
        </p:txBody>
      </p:sp>
      <p:pic>
        <p:nvPicPr>
          <p:cNvPr id="15" name="Grafik 14">
            <a:extLst>
              <a:ext uri="{FF2B5EF4-FFF2-40B4-BE49-F238E27FC236}">
                <a16:creationId xmlns:a16="http://schemas.microsoft.com/office/drawing/2014/main" id="{09D1D295-5291-4D0F-8A41-61B89D43BA7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gray">
          <a:xfrm>
            <a:off x="5222886" y="296648"/>
            <a:ext cx="2009763" cy="1005212"/>
          </a:xfrm>
          <a:prstGeom prst="rect">
            <a:avLst/>
          </a:prstGeom>
        </p:spPr>
      </p:pic>
      <p:sp>
        <p:nvSpPr>
          <p:cNvPr id="13" name="Textplatzhalter 12">
            <a:extLst>
              <a:ext uri="{FF2B5EF4-FFF2-40B4-BE49-F238E27FC236}">
                <a16:creationId xmlns:a16="http://schemas.microsoft.com/office/drawing/2014/main" id="{14E52239-0B41-4EF5-8B95-1BFC25885969}"/>
              </a:ext>
            </a:extLst>
          </p:cNvPr>
          <p:cNvSpPr>
            <a:spLocks noGrp="1"/>
          </p:cNvSpPr>
          <p:nvPr>
            <p:ph type="body" sz="quarter" idx="12" hasCustomPrompt="1"/>
          </p:nvPr>
        </p:nvSpPr>
        <p:spPr bwMode="gray">
          <a:xfrm>
            <a:off x="612278" y="3208174"/>
            <a:ext cx="3096121" cy="132280"/>
          </a:xfrm>
        </p:spPr>
        <p:txBody>
          <a:bodyPr wrap="square">
            <a:spAutoFit/>
          </a:bodyPr>
          <a:lstStyle>
            <a:lvl1pPr>
              <a:defRPr sz="1000">
                <a:solidFill>
                  <a:schemeClr val="accent2"/>
                </a:solidFill>
              </a:defRPr>
            </a:lvl1pPr>
            <a:lvl2pPr marL="171450" marR="0" indent="-171450" algn="l" defTabSz="914400" rtl="0" eaLnBrk="1" fontAlgn="base" latinLnBrk="0" hangingPunct="1">
              <a:lnSpc>
                <a:spcPct val="106000"/>
              </a:lnSpc>
              <a:spcBef>
                <a:spcPts val="200"/>
              </a:spcBef>
              <a:spcAft>
                <a:spcPts val="0"/>
              </a:spcAft>
              <a:buClrTx/>
              <a:buSzTx/>
              <a:buFont typeface="DWS Sans Light" panose="02010404010101010104" pitchFamily="50" charset="0"/>
              <a:buChar char="_"/>
              <a:tabLst/>
              <a:defRPr sz="900">
                <a:solidFill>
                  <a:schemeClr val="bg2"/>
                </a:solidFill>
                <a:latin typeface="DWS Sans Light" panose="02010404010101010104" pitchFamily="50" charset="0"/>
                <a:cs typeface="DWS Sans Light" panose="02010404010101010104" pitchFamily="50" charset="0"/>
              </a:defRPr>
            </a:lvl2pPr>
            <a:lvl3pPr>
              <a:defRPr sz="1000"/>
            </a:lvl3pPr>
            <a:lvl4pPr>
              <a:defRPr sz="1000"/>
            </a:lvl4pPr>
            <a:lvl5pPr marL="0" indent="0">
              <a:buNone/>
              <a:defRPr sz="1200">
                <a:solidFill>
                  <a:schemeClr val="accent3"/>
                </a:solidFill>
              </a:defRPr>
            </a:lvl5pPr>
          </a:lstStyle>
          <a:p>
            <a:pPr lvl="1"/>
            <a:r>
              <a:rPr lang="en-US" dirty="0"/>
              <a:t>Second level: Body text</a:t>
            </a:r>
          </a:p>
        </p:txBody>
      </p:sp>
      <p:sp>
        <p:nvSpPr>
          <p:cNvPr id="14" name="Textplatzhalter 12">
            <a:extLst>
              <a:ext uri="{FF2B5EF4-FFF2-40B4-BE49-F238E27FC236}">
                <a16:creationId xmlns:a16="http://schemas.microsoft.com/office/drawing/2014/main" id="{BB8FA2F0-290D-4B82-B6F5-D3D9F847C9FA}"/>
              </a:ext>
            </a:extLst>
          </p:cNvPr>
          <p:cNvSpPr>
            <a:spLocks noGrp="1"/>
          </p:cNvSpPr>
          <p:nvPr>
            <p:ph type="body" sz="quarter" idx="13" hasCustomPrompt="1"/>
          </p:nvPr>
        </p:nvSpPr>
        <p:spPr bwMode="gray">
          <a:xfrm>
            <a:off x="3852639" y="3208174"/>
            <a:ext cx="3096121" cy="836768"/>
          </a:xfrm>
        </p:spPr>
        <p:txBody>
          <a:bodyPr wrap="square">
            <a:spAutoFit/>
          </a:bodyPr>
          <a:lstStyle>
            <a:lvl1pPr>
              <a:defRPr sz="1000"/>
            </a:lvl1pPr>
            <a:lvl2pPr marL="0" marR="0" indent="0" algn="l" defTabSz="914400" rtl="0" eaLnBrk="1" fontAlgn="base" latinLnBrk="0" hangingPunct="1">
              <a:lnSpc>
                <a:spcPct val="106000"/>
              </a:lnSpc>
              <a:spcBef>
                <a:spcPts val="200"/>
              </a:spcBef>
              <a:spcAft>
                <a:spcPts val="0"/>
              </a:spcAft>
              <a:buClrTx/>
              <a:buSzTx/>
              <a:buFontTx/>
              <a:buNone/>
              <a:tabLst/>
              <a:defRPr sz="900">
                <a:latin typeface="DWS Sans Light" panose="02010404010101010104" pitchFamily="50" charset="0"/>
                <a:cs typeface="DWS Sans Light" panose="02010404010101010104" pitchFamily="50" charset="0"/>
              </a:defRPr>
            </a:lvl2pPr>
            <a:lvl3pPr>
              <a:defRPr sz="1000"/>
            </a:lvl3pPr>
            <a:lvl4pPr>
              <a:defRPr sz="1000"/>
            </a:lvl4pPr>
            <a:lvl5pPr>
              <a:defRPr sz="1000"/>
            </a:lvl5pPr>
          </a:lstStyle>
          <a:p>
            <a:pPr lvl="1"/>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p:txBody>
      </p:sp>
      <p:cxnSp>
        <p:nvCxnSpPr>
          <p:cNvPr id="8" name="Gerader Verbinder 7">
            <a:extLst>
              <a:ext uri="{FF2B5EF4-FFF2-40B4-BE49-F238E27FC236}">
                <a16:creationId xmlns:a16="http://schemas.microsoft.com/office/drawing/2014/main" id="{D00B0EB4-9029-4A35-8BB1-D5C6115A3D21}"/>
              </a:ext>
            </a:extLst>
          </p:cNvPr>
          <p:cNvCxnSpPr/>
          <p:nvPr userDrawn="1"/>
        </p:nvCxnSpPr>
        <p:spPr bwMode="gray">
          <a:xfrm>
            <a:off x="612631" y="1609713"/>
            <a:ext cx="6336000" cy="0"/>
          </a:xfrm>
          <a:prstGeom prst="line">
            <a:avLst/>
          </a:prstGeom>
          <a:noFill/>
          <a:ln w="12700">
            <a:solidFill>
              <a:srgbClr val="97999B"/>
            </a:solidFill>
            <a:round/>
            <a:headEnd/>
            <a:tailEnd/>
          </a:ln>
        </p:spPr>
      </p:cxnSp>
      <p:cxnSp>
        <p:nvCxnSpPr>
          <p:cNvPr id="17" name="Gerader Verbinder 16">
            <a:extLst>
              <a:ext uri="{FF2B5EF4-FFF2-40B4-BE49-F238E27FC236}">
                <a16:creationId xmlns:a16="http://schemas.microsoft.com/office/drawing/2014/main" id="{1B92B282-B8C4-4596-B3F2-60D2180C2BEF}"/>
              </a:ext>
            </a:extLst>
          </p:cNvPr>
          <p:cNvCxnSpPr/>
          <p:nvPr userDrawn="1"/>
        </p:nvCxnSpPr>
        <p:spPr bwMode="gray">
          <a:xfrm>
            <a:off x="612631" y="1566280"/>
            <a:ext cx="6336000" cy="0"/>
          </a:xfrm>
          <a:prstGeom prst="line">
            <a:avLst/>
          </a:prstGeom>
          <a:noFill/>
          <a:ln w="12700">
            <a:solidFill>
              <a:srgbClr val="97999B"/>
            </a:solidFill>
            <a:round/>
            <a:headEnd/>
            <a:tailEnd/>
          </a:ln>
        </p:spPr>
      </p:cxnSp>
      <p:sp>
        <p:nvSpPr>
          <p:cNvPr id="18" name="Textplatzhalter 12">
            <a:extLst>
              <a:ext uri="{FF2B5EF4-FFF2-40B4-BE49-F238E27FC236}">
                <a16:creationId xmlns:a16="http://schemas.microsoft.com/office/drawing/2014/main" id="{5EABA8C7-D407-4653-B1C4-E460145CA1D6}"/>
              </a:ext>
            </a:extLst>
          </p:cNvPr>
          <p:cNvSpPr>
            <a:spLocks noGrp="1"/>
          </p:cNvSpPr>
          <p:nvPr>
            <p:ph type="body" sz="quarter" idx="17" hasCustomPrompt="1"/>
          </p:nvPr>
        </p:nvSpPr>
        <p:spPr bwMode="gray">
          <a:xfrm>
            <a:off x="612775" y="1854312"/>
            <a:ext cx="6336208" cy="492443"/>
          </a:xfrm>
        </p:spPr>
        <p:txBody>
          <a:bodyPr wrap="squar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3200" b="0">
                <a:solidFill>
                  <a:schemeClr val="accent2"/>
                </a:solidFill>
                <a:latin typeface="DWS Slab Light" panose="02010404010101010104" pitchFamily="50" charset="0"/>
                <a:cs typeface="DWS Slab Light" panose="02010404010101010104" pitchFamily="50" charset="0"/>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Placeholder Header</a:t>
            </a:r>
          </a:p>
        </p:txBody>
      </p:sp>
      <p:sp>
        <p:nvSpPr>
          <p:cNvPr id="22" name="Textplatzhalter 12">
            <a:extLst>
              <a:ext uri="{FF2B5EF4-FFF2-40B4-BE49-F238E27FC236}">
                <a16:creationId xmlns:a16="http://schemas.microsoft.com/office/drawing/2014/main" id="{8FF72595-6360-45DD-94FA-B02E9D2E6138}"/>
              </a:ext>
            </a:extLst>
          </p:cNvPr>
          <p:cNvSpPr>
            <a:spLocks noGrp="1"/>
          </p:cNvSpPr>
          <p:nvPr>
            <p:ph type="body" sz="quarter" idx="18" hasCustomPrompt="1"/>
          </p:nvPr>
        </p:nvSpPr>
        <p:spPr bwMode="gray">
          <a:xfrm>
            <a:off x="612775" y="1689971"/>
            <a:ext cx="6336208" cy="92333"/>
          </a:xfrm>
        </p:spPr>
        <p:txBody>
          <a:bodyPr wrap="square" anchor="t">
            <a:spAutoFit/>
          </a:bodyPr>
          <a:lstStyle>
            <a:lvl1pPr marL="0" marR="0" indent="0" algn="r" defTabSz="914400" rtl="0" eaLnBrk="1" fontAlgn="base" latinLnBrk="0" hangingPunct="1">
              <a:lnSpc>
                <a:spcPct val="100000"/>
              </a:lnSpc>
              <a:spcBef>
                <a:spcPts val="0"/>
              </a:spcBef>
              <a:spcAft>
                <a:spcPts val="0"/>
              </a:spcAft>
              <a:buClrTx/>
              <a:buSzTx/>
              <a:buFont typeface="Arial" panose="020B0604020202020204" pitchFamily="34" charset="0"/>
              <a:buNone/>
              <a:tabLst/>
              <a:defRPr sz="600" b="0">
                <a:solidFill>
                  <a:schemeClr val="accent3"/>
                </a:solidFill>
              </a:defRPr>
            </a:lvl1pPr>
            <a:lvl2pPr marL="0" indent="0">
              <a:lnSpc>
                <a:spcPct val="100000"/>
              </a:lnSpc>
              <a:spcBef>
                <a:spcPts val="0"/>
              </a:spcBef>
              <a:buFont typeface="Arial" panose="020B0604020202020204" pitchFamily="34" charset="0"/>
              <a:buNone/>
              <a:defRPr sz="600">
                <a:solidFill>
                  <a:schemeClr val="accent3"/>
                </a:solidFill>
              </a:defRPr>
            </a:lvl2pPr>
            <a:lvl3pPr marL="0" indent="0">
              <a:lnSpc>
                <a:spcPct val="100000"/>
              </a:lnSpc>
              <a:spcBef>
                <a:spcPts val="0"/>
              </a:spcBef>
              <a:buFont typeface="Arial" panose="020B0604020202020204" pitchFamily="34" charset="0"/>
              <a:buNone/>
              <a:defRPr sz="600">
                <a:solidFill>
                  <a:schemeClr val="accent3"/>
                </a:solidFill>
              </a:defRPr>
            </a:lvl3pPr>
            <a:lvl4pPr marL="0" indent="0">
              <a:lnSpc>
                <a:spcPct val="100000"/>
              </a:lnSpc>
              <a:spcBef>
                <a:spcPts val="0"/>
              </a:spcBef>
              <a:buNone/>
              <a:defRPr sz="600">
                <a:solidFill>
                  <a:schemeClr val="accent3"/>
                </a:solidFill>
              </a:defRPr>
            </a:lvl4pPr>
            <a:lvl5pPr marL="0" indent="0">
              <a:lnSpc>
                <a:spcPct val="100000"/>
              </a:lnSpc>
              <a:spcBef>
                <a:spcPts val="0"/>
              </a:spcBef>
              <a:buNone/>
              <a:defRPr sz="600">
                <a:solidFill>
                  <a:schemeClr val="accent3"/>
                </a:solidFill>
              </a:defRPr>
            </a:lvl5pPr>
          </a:lstStyle>
          <a:p>
            <a:pPr lvl="0"/>
            <a:r>
              <a:rPr lang="en-US" noProof="0" dirty="0"/>
              <a:t>Placeholder Internal use only</a:t>
            </a:r>
          </a:p>
        </p:txBody>
      </p:sp>
      <p:sp>
        <p:nvSpPr>
          <p:cNvPr id="23" name="Textplatzhalter 12">
            <a:extLst>
              <a:ext uri="{FF2B5EF4-FFF2-40B4-BE49-F238E27FC236}">
                <a16:creationId xmlns:a16="http://schemas.microsoft.com/office/drawing/2014/main" id="{7277914C-02F0-4B59-9F60-F68A80F12E66}"/>
              </a:ext>
            </a:extLst>
          </p:cNvPr>
          <p:cNvSpPr>
            <a:spLocks noGrp="1"/>
          </p:cNvSpPr>
          <p:nvPr>
            <p:ph type="body" sz="quarter" idx="19" hasCustomPrompt="1"/>
          </p:nvPr>
        </p:nvSpPr>
        <p:spPr bwMode="gray">
          <a:xfrm>
            <a:off x="612279" y="726376"/>
            <a:ext cx="634789"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Month 20XX</a:t>
            </a:r>
          </a:p>
        </p:txBody>
      </p:sp>
      <p:sp>
        <p:nvSpPr>
          <p:cNvPr id="26" name="Parallelogramm 25">
            <a:extLst>
              <a:ext uri="{FF2B5EF4-FFF2-40B4-BE49-F238E27FC236}">
                <a16:creationId xmlns:a16="http://schemas.microsoft.com/office/drawing/2014/main" id="{4793A6C0-BE02-4AAC-BB64-2C3B544AA3E2}"/>
              </a:ext>
            </a:extLst>
          </p:cNvPr>
          <p:cNvSpPr/>
          <p:nvPr userDrawn="1"/>
        </p:nvSpPr>
        <p:spPr bwMode="gray">
          <a:xfrm>
            <a:off x="1245393" y="293182"/>
            <a:ext cx="862013" cy="1004888"/>
          </a:xfrm>
          <a:prstGeom prst="parallelogram">
            <a:avLst>
              <a:gd name="adj" fmla="val 98481"/>
            </a:avLst>
          </a:prstGeom>
          <a:solidFill>
            <a:srgbClr val="97999B"/>
          </a:solidFill>
          <a:ln w="6350">
            <a:noFill/>
            <a:miter lim="800000"/>
            <a:headEnd/>
            <a:tailEnd/>
          </a:ln>
        </p:spPr>
        <p:txBody>
          <a:bodyPr lIns="108000" tIns="72000" rIns="108000" bIns="72000" rtlCol="0" anchor="ctr">
            <a:noAutofit/>
          </a:bodyPr>
          <a:lstStyle/>
          <a:p>
            <a:pPr marL="266700" indent="-266700" algn="ctr" defTabSz="963613" eaLnBrk="0" hangingPunct="0">
              <a:spcBef>
                <a:spcPts val="800"/>
              </a:spcBef>
              <a:buClr>
                <a:schemeClr val="tx1"/>
              </a:buClr>
              <a:buFont typeface="Arial" pitchFamily="34" charset="0"/>
              <a:buChar char="—"/>
              <a:tabLst>
                <a:tab pos="1257300" algn="l"/>
              </a:tabLst>
            </a:pPr>
            <a:endParaRPr lang="en-US" sz="1000" dirty="0">
              <a:latin typeface="+mn-lt"/>
            </a:endParaRPr>
          </a:p>
        </p:txBody>
      </p:sp>
      <p:sp>
        <p:nvSpPr>
          <p:cNvPr id="30" name="Textplatzhalter 12">
            <a:extLst>
              <a:ext uri="{FF2B5EF4-FFF2-40B4-BE49-F238E27FC236}">
                <a16:creationId xmlns:a16="http://schemas.microsoft.com/office/drawing/2014/main" id="{05856FC8-CE4C-49DA-8819-FDD91233A9C6}"/>
              </a:ext>
            </a:extLst>
          </p:cNvPr>
          <p:cNvSpPr>
            <a:spLocks noGrp="1"/>
          </p:cNvSpPr>
          <p:nvPr>
            <p:ph type="body" sz="quarter" idx="20" hasCustomPrompt="1"/>
          </p:nvPr>
        </p:nvSpPr>
        <p:spPr bwMode="gray">
          <a:xfrm>
            <a:off x="2345519" y="366674"/>
            <a:ext cx="1134926"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Placeholder Contents:</a:t>
            </a:r>
          </a:p>
        </p:txBody>
      </p:sp>
      <p:sp>
        <p:nvSpPr>
          <p:cNvPr id="31" name="Textplatzhalter 12">
            <a:extLst>
              <a:ext uri="{FF2B5EF4-FFF2-40B4-BE49-F238E27FC236}">
                <a16:creationId xmlns:a16="http://schemas.microsoft.com/office/drawing/2014/main" id="{02CB252D-2BD2-468A-9996-BA142368EC8B}"/>
              </a:ext>
            </a:extLst>
          </p:cNvPr>
          <p:cNvSpPr>
            <a:spLocks noGrp="1"/>
          </p:cNvSpPr>
          <p:nvPr>
            <p:ph type="body" sz="quarter" idx="21" hasCustomPrompt="1"/>
          </p:nvPr>
        </p:nvSpPr>
        <p:spPr bwMode="gray">
          <a:xfrm>
            <a:off x="2291314" y="510555"/>
            <a:ext cx="128240"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1</a:t>
            </a:r>
          </a:p>
        </p:txBody>
      </p:sp>
      <p:sp>
        <p:nvSpPr>
          <p:cNvPr id="32" name="Textplatzhalter 12">
            <a:extLst>
              <a:ext uri="{FF2B5EF4-FFF2-40B4-BE49-F238E27FC236}">
                <a16:creationId xmlns:a16="http://schemas.microsoft.com/office/drawing/2014/main" id="{1E3A95D2-7ED9-47AE-9775-EB8F59BA7ACF}"/>
              </a:ext>
            </a:extLst>
          </p:cNvPr>
          <p:cNvSpPr>
            <a:spLocks noGrp="1"/>
          </p:cNvSpPr>
          <p:nvPr>
            <p:ph type="body" sz="quarter" idx="22" hasCustomPrompt="1"/>
          </p:nvPr>
        </p:nvSpPr>
        <p:spPr bwMode="gray">
          <a:xfrm>
            <a:off x="2174630" y="654436"/>
            <a:ext cx="128588" cy="138499"/>
          </a:xfrm>
        </p:spPr>
        <p:txBody>
          <a:bodyPr wrap="none" anchor="ctr">
            <a:no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2</a:t>
            </a:r>
          </a:p>
        </p:txBody>
      </p:sp>
      <p:sp>
        <p:nvSpPr>
          <p:cNvPr id="33" name="Textplatzhalter 12">
            <a:extLst>
              <a:ext uri="{FF2B5EF4-FFF2-40B4-BE49-F238E27FC236}">
                <a16:creationId xmlns:a16="http://schemas.microsoft.com/office/drawing/2014/main" id="{9E0DCCC2-18D1-4500-B536-6A1B653E76C2}"/>
              </a:ext>
            </a:extLst>
          </p:cNvPr>
          <p:cNvSpPr>
            <a:spLocks noGrp="1"/>
          </p:cNvSpPr>
          <p:nvPr>
            <p:ph type="body" sz="quarter" idx="23" hasCustomPrompt="1"/>
          </p:nvPr>
        </p:nvSpPr>
        <p:spPr bwMode="gray">
          <a:xfrm>
            <a:off x="2058295" y="798317"/>
            <a:ext cx="128240"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3</a:t>
            </a:r>
          </a:p>
        </p:txBody>
      </p:sp>
      <p:sp>
        <p:nvSpPr>
          <p:cNvPr id="34" name="Textplatzhalter 12">
            <a:extLst>
              <a:ext uri="{FF2B5EF4-FFF2-40B4-BE49-F238E27FC236}">
                <a16:creationId xmlns:a16="http://schemas.microsoft.com/office/drawing/2014/main" id="{070B562A-D92A-4BA8-8307-62CB2C3BF291}"/>
              </a:ext>
            </a:extLst>
          </p:cNvPr>
          <p:cNvSpPr>
            <a:spLocks noGrp="1"/>
          </p:cNvSpPr>
          <p:nvPr>
            <p:ph type="body" sz="quarter" idx="24" hasCustomPrompt="1"/>
          </p:nvPr>
        </p:nvSpPr>
        <p:spPr bwMode="gray">
          <a:xfrm>
            <a:off x="1941960" y="942198"/>
            <a:ext cx="128240"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4</a:t>
            </a:r>
          </a:p>
        </p:txBody>
      </p:sp>
      <p:sp>
        <p:nvSpPr>
          <p:cNvPr id="35" name="Textplatzhalter 12">
            <a:extLst>
              <a:ext uri="{FF2B5EF4-FFF2-40B4-BE49-F238E27FC236}">
                <a16:creationId xmlns:a16="http://schemas.microsoft.com/office/drawing/2014/main" id="{EB74D7FD-D93F-4F5C-8DFF-06F820B4FB9D}"/>
              </a:ext>
            </a:extLst>
          </p:cNvPr>
          <p:cNvSpPr>
            <a:spLocks noGrp="1"/>
          </p:cNvSpPr>
          <p:nvPr>
            <p:ph type="body" sz="quarter" idx="25" hasCustomPrompt="1"/>
          </p:nvPr>
        </p:nvSpPr>
        <p:spPr bwMode="gray">
          <a:xfrm>
            <a:off x="1825625" y="1086079"/>
            <a:ext cx="128240"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5</a:t>
            </a:r>
          </a:p>
        </p:txBody>
      </p:sp>
      <p:sp>
        <p:nvSpPr>
          <p:cNvPr id="36" name="Textplatzhalter 12">
            <a:extLst>
              <a:ext uri="{FF2B5EF4-FFF2-40B4-BE49-F238E27FC236}">
                <a16:creationId xmlns:a16="http://schemas.microsoft.com/office/drawing/2014/main" id="{EC0EF89B-1985-43EE-B7DB-20319778334F}"/>
              </a:ext>
            </a:extLst>
          </p:cNvPr>
          <p:cNvSpPr>
            <a:spLocks noGrp="1"/>
          </p:cNvSpPr>
          <p:nvPr>
            <p:ph type="body" sz="quarter" idx="26" hasCustomPrompt="1"/>
          </p:nvPr>
        </p:nvSpPr>
        <p:spPr bwMode="gray">
          <a:xfrm>
            <a:off x="2476564" y="510555"/>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37" name="Textplatzhalter 12">
            <a:extLst>
              <a:ext uri="{FF2B5EF4-FFF2-40B4-BE49-F238E27FC236}">
                <a16:creationId xmlns:a16="http://schemas.microsoft.com/office/drawing/2014/main" id="{86262E24-4DCD-46BC-9291-F22D3FA1E8DA}"/>
              </a:ext>
            </a:extLst>
          </p:cNvPr>
          <p:cNvSpPr>
            <a:spLocks noGrp="1"/>
          </p:cNvSpPr>
          <p:nvPr>
            <p:ph type="body" sz="quarter" idx="27" hasCustomPrompt="1"/>
          </p:nvPr>
        </p:nvSpPr>
        <p:spPr bwMode="gray">
          <a:xfrm>
            <a:off x="2359880" y="654436"/>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38" name="Textplatzhalter 12">
            <a:extLst>
              <a:ext uri="{FF2B5EF4-FFF2-40B4-BE49-F238E27FC236}">
                <a16:creationId xmlns:a16="http://schemas.microsoft.com/office/drawing/2014/main" id="{9469E5F3-CE59-40D1-A516-216329B3A1AF}"/>
              </a:ext>
            </a:extLst>
          </p:cNvPr>
          <p:cNvSpPr>
            <a:spLocks noGrp="1"/>
          </p:cNvSpPr>
          <p:nvPr>
            <p:ph type="body" sz="quarter" idx="28" hasCustomPrompt="1"/>
          </p:nvPr>
        </p:nvSpPr>
        <p:spPr bwMode="gray">
          <a:xfrm>
            <a:off x="2243545" y="798317"/>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39" name="Textplatzhalter 12">
            <a:extLst>
              <a:ext uri="{FF2B5EF4-FFF2-40B4-BE49-F238E27FC236}">
                <a16:creationId xmlns:a16="http://schemas.microsoft.com/office/drawing/2014/main" id="{BDCFA413-6E54-4AAE-8F29-B67DFA6E06E4}"/>
              </a:ext>
            </a:extLst>
          </p:cNvPr>
          <p:cNvSpPr>
            <a:spLocks noGrp="1"/>
          </p:cNvSpPr>
          <p:nvPr>
            <p:ph type="body" sz="quarter" idx="29" hasCustomPrompt="1"/>
          </p:nvPr>
        </p:nvSpPr>
        <p:spPr bwMode="gray">
          <a:xfrm>
            <a:off x="2127210" y="942198"/>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40" name="Textplatzhalter 12">
            <a:extLst>
              <a:ext uri="{FF2B5EF4-FFF2-40B4-BE49-F238E27FC236}">
                <a16:creationId xmlns:a16="http://schemas.microsoft.com/office/drawing/2014/main" id="{794D9C5B-6933-4E7A-A0C1-314BB74373AB}"/>
              </a:ext>
            </a:extLst>
          </p:cNvPr>
          <p:cNvSpPr>
            <a:spLocks noGrp="1"/>
          </p:cNvSpPr>
          <p:nvPr>
            <p:ph type="body" sz="quarter" idx="30" hasCustomPrompt="1"/>
          </p:nvPr>
        </p:nvSpPr>
        <p:spPr bwMode="gray">
          <a:xfrm>
            <a:off x="2010875" y="1086079"/>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6" name="Bildplatzhalter 5"/>
          <p:cNvSpPr>
            <a:spLocks noGrp="1"/>
          </p:cNvSpPr>
          <p:nvPr>
            <p:ph type="pic" sz="quarter" idx="31"/>
          </p:nvPr>
        </p:nvSpPr>
        <p:spPr>
          <a:xfrm>
            <a:off x="612775" y="4286568"/>
            <a:ext cx="6335713" cy="2925762"/>
          </a:xfrm>
        </p:spPr>
        <p:txBody>
          <a:bodyPr/>
          <a:lstStyle/>
          <a:p>
            <a:endParaRPr lang="de-DE" dirty="0"/>
          </a:p>
        </p:txBody>
      </p:sp>
      <p:sp>
        <p:nvSpPr>
          <p:cNvPr id="9" name="Bildplatzhalter 8"/>
          <p:cNvSpPr>
            <a:spLocks noGrp="1"/>
          </p:cNvSpPr>
          <p:nvPr>
            <p:ph type="pic" sz="quarter" idx="32"/>
          </p:nvPr>
        </p:nvSpPr>
        <p:spPr>
          <a:xfrm>
            <a:off x="612278" y="7562953"/>
            <a:ext cx="844550" cy="1130300"/>
          </a:xfrm>
        </p:spPr>
        <p:txBody>
          <a:bodyPr/>
          <a:lstStyle/>
          <a:p>
            <a:endParaRPr lang="de-DE" dirty="0"/>
          </a:p>
        </p:txBody>
      </p:sp>
      <p:sp>
        <p:nvSpPr>
          <p:cNvPr id="11" name="Textplatzhalter 10"/>
          <p:cNvSpPr>
            <a:spLocks noGrp="1"/>
          </p:cNvSpPr>
          <p:nvPr>
            <p:ph type="body" sz="quarter" idx="36" hasCustomPrompt="1"/>
          </p:nvPr>
        </p:nvSpPr>
        <p:spPr>
          <a:xfrm>
            <a:off x="1508760" y="7802879"/>
            <a:ext cx="2200507" cy="890905"/>
          </a:xfrm>
        </p:spPr>
        <p:txBody>
          <a:bodyPr>
            <a:noAutofit/>
          </a:bodyPr>
          <a:lstStyle/>
          <a:p>
            <a:pPr lvl="2"/>
            <a:r>
              <a:rPr lang="de-DE" dirty="0"/>
              <a:t>Dritte Ebene</a:t>
            </a:r>
          </a:p>
        </p:txBody>
      </p:sp>
      <p:sp>
        <p:nvSpPr>
          <p:cNvPr id="5" name="Textplatzhalter 4"/>
          <p:cNvSpPr>
            <a:spLocks noGrp="1"/>
          </p:cNvSpPr>
          <p:nvPr>
            <p:ph type="body" sz="quarter" idx="40" hasCustomPrompt="1"/>
          </p:nvPr>
        </p:nvSpPr>
        <p:spPr>
          <a:xfrm>
            <a:off x="1505815" y="7564717"/>
            <a:ext cx="914400" cy="163485"/>
          </a:xfrm>
        </p:spPr>
        <p:txBody>
          <a:bodyPr/>
          <a:lstStyle>
            <a:lvl2pPr>
              <a:defRPr>
                <a:latin typeface="DWS Sans Bold" panose="02010804010101010104" pitchFamily="50" charset="0"/>
                <a:cs typeface="DWS Sans Bold" panose="02010804010101010104" pitchFamily="50" charset="0"/>
              </a:defRPr>
            </a:lvl2pPr>
          </a:lstStyle>
          <a:p>
            <a:pPr lvl="1"/>
            <a:r>
              <a:rPr lang="de-DE" dirty="0"/>
              <a:t>Zweite Ebene</a:t>
            </a:r>
          </a:p>
        </p:txBody>
      </p:sp>
      <p:sp>
        <p:nvSpPr>
          <p:cNvPr id="50" name="Bildplatzhalter 8"/>
          <p:cNvSpPr>
            <a:spLocks noGrp="1"/>
          </p:cNvSpPr>
          <p:nvPr>
            <p:ph type="pic" sz="quarter" idx="41"/>
          </p:nvPr>
        </p:nvSpPr>
        <p:spPr>
          <a:xfrm>
            <a:off x="612278" y="8796993"/>
            <a:ext cx="844550" cy="1130300"/>
          </a:xfrm>
        </p:spPr>
        <p:txBody>
          <a:bodyPr/>
          <a:lstStyle/>
          <a:p>
            <a:endParaRPr lang="de-DE" dirty="0"/>
          </a:p>
        </p:txBody>
      </p:sp>
      <p:sp>
        <p:nvSpPr>
          <p:cNvPr id="51" name="Textplatzhalter 10"/>
          <p:cNvSpPr>
            <a:spLocks noGrp="1"/>
          </p:cNvSpPr>
          <p:nvPr>
            <p:ph type="body" sz="quarter" idx="42" hasCustomPrompt="1"/>
          </p:nvPr>
        </p:nvSpPr>
        <p:spPr>
          <a:xfrm>
            <a:off x="1508760" y="9036919"/>
            <a:ext cx="2200507" cy="890905"/>
          </a:xfrm>
        </p:spPr>
        <p:txBody>
          <a:bodyPr>
            <a:noAutofit/>
          </a:bodyPr>
          <a:lstStyle/>
          <a:p>
            <a:pPr lvl="2"/>
            <a:r>
              <a:rPr lang="de-DE" dirty="0"/>
              <a:t>Dritte Ebene</a:t>
            </a:r>
          </a:p>
        </p:txBody>
      </p:sp>
      <p:sp>
        <p:nvSpPr>
          <p:cNvPr id="52" name="Textplatzhalter 4"/>
          <p:cNvSpPr>
            <a:spLocks noGrp="1"/>
          </p:cNvSpPr>
          <p:nvPr>
            <p:ph type="body" sz="quarter" idx="43" hasCustomPrompt="1"/>
          </p:nvPr>
        </p:nvSpPr>
        <p:spPr>
          <a:xfrm>
            <a:off x="1505815" y="8798757"/>
            <a:ext cx="914400" cy="163485"/>
          </a:xfrm>
        </p:spPr>
        <p:txBody>
          <a:bodyPr/>
          <a:lstStyle>
            <a:lvl2pPr>
              <a:defRPr>
                <a:latin typeface="DWS Sans Bold" panose="02010804010101010104" pitchFamily="50" charset="0"/>
                <a:cs typeface="DWS Sans Bold" panose="02010804010101010104" pitchFamily="50" charset="0"/>
              </a:defRPr>
            </a:lvl2pPr>
          </a:lstStyle>
          <a:p>
            <a:pPr lvl="1"/>
            <a:r>
              <a:rPr lang="de-DE" dirty="0"/>
              <a:t>Zweite Ebene</a:t>
            </a:r>
          </a:p>
        </p:txBody>
      </p:sp>
      <p:sp>
        <p:nvSpPr>
          <p:cNvPr id="56" name="Bildplatzhalter 8"/>
          <p:cNvSpPr>
            <a:spLocks noGrp="1"/>
          </p:cNvSpPr>
          <p:nvPr>
            <p:ph type="pic" sz="quarter" idx="44"/>
          </p:nvPr>
        </p:nvSpPr>
        <p:spPr>
          <a:xfrm>
            <a:off x="3851499" y="7562953"/>
            <a:ext cx="844550" cy="1130300"/>
          </a:xfrm>
        </p:spPr>
        <p:txBody>
          <a:bodyPr/>
          <a:lstStyle/>
          <a:p>
            <a:endParaRPr lang="de-DE" dirty="0"/>
          </a:p>
        </p:txBody>
      </p:sp>
      <p:sp>
        <p:nvSpPr>
          <p:cNvPr id="57" name="Textplatzhalter 10"/>
          <p:cNvSpPr>
            <a:spLocks noGrp="1"/>
          </p:cNvSpPr>
          <p:nvPr>
            <p:ph type="body" sz="quarter" idx="45" hasCustomPrompt="1"/>
          </p:nvPr>
        </p:nvSpPr>
        <p:spPr>
          <a:xfrm>
            <a:off x="4747981" y="7802879"/>
            <a:ext cx="2200507" cy="890905"/>
          </a:xfrm>
        </p:spPr>
        <p:txBody>
          <a:bodyPr>
            <a:noAutofit/>
          </a:bodyPr>
          <a:lstStyle/>
          <a:p>
            <a:pPr lvl="2"/>
            <a:r>
              <a:rPr lang="de-DE" dirty="0"/>
              <a:t>Dritte Ebene</a:t>
            </a:r>
          </a:p>
        </p:txBody>
      </p:sp>
      <p:sp>
        <p:nvSpPr>
          <p:cNvPr id="58" name="Textplatzhalter 4"/>
          <p:cNvSpPr>
            <a:spLocks noGrp="1"/>
          </p:cNvSpPr>
          <p:nvPr>
            <p:ph type="body" sz="quarter" idx="46" hasCustomPrompt="1"/>
          </p:nvPr>
        </p:nvSpPr>
        <p:spPr>
          <a:xfrm>
            <a:off x="4745036" y="7564717"/>
            <a:ext cx="914400" cy="163485"/>
          </a:xfrm>
        </p:spPr>
        <p:txBody>
          <a:bodyPr/>
          <a:lstStyle>
            <a:lvl2pPr>
              <a:defRPr>
                <a:latin typeface="DWS Sans Bold" panose="02010804010101010104" pitchFamily="50" charset="0"/>
                <a:cs typeface="DWS Sans Bold" panose="02010804010101010104" pitchFamily="50" charset="0"/>
              </a:defRPr>
            </a:lvl2pPr>
          </a:lstStyle>
          <a:p>
            <a:pPr lvl="1"/>
            <a:r>
              <a:rPr lang="de-DE" dirty="0"/>
              <a:t>Zweite Ebene</a:t>
            </a:r>
          </a:p>
        </p:txBody>
      </p:sp>
      <p:sp>
        <p:nvSpPr>
          <p:cNvPr id="59" name="Bildplatzhalter 8"/>
          <p:cNvSpPr>
            <a:spLocks noGrp="1"/>
          </p:cNvSpPr>
          <p:nvPr>
            <p:ph type="pic" sz="quarter" idx="47"/>
          </p:nvPr>
        </p:nvSpPr>
        <p:spPr>
          <a:xfrm>
            <a:off x="3851499" y="8796993"/>
            <a:ext cx="844550" cy="1130300"/>
          </a:xfrm>
        </p:spPr>
        <p:txBody>
          <a:bodyPr/>
          <a:lstStyle/>
          <a:p>
            <a:endParaRPr lang="de-DE" dirty="0"/>
          </a:p>
        </p:txBody>
      </p:sp>
      <p:sp>
        <p:nvSpPr>
          <p:cNvPr id="60" name="Textplatzhalter 10"/>
          <p:cNvSpPr>
            <a:spLocks noGrp="1"/>
          </p:cNvSpPr>
          <p:nvPr>
            <p:ph type="body" sz="quarter" idx="48" hasCustomPrompt="1"/>
          </p:nvPr>
        </p:nvSpPr>
        <p:spPr>
          <a:xfrm>
            <a:off x="4747981" y="9036919"/>
            <a:ext cx="2200507" cy="890905"/>
          </a:xfrm>
        </p:spPr>
        <p:txBody>
          <a:bodyPr>
            <a:noAutofit/>
          </a:bodyPr>
          <a:lstStyle/>
          <a:p>
            <a:pPr lvl="2"/>
            <a:r>
              <a:rPr lang="de-DE" dirty="0"/>
              <a:t>Dritte Ebene</a:t>
            </a:r>
          </a:p>
        </p:txBody>
      </p:sp>
      <p:sp>
        <p:nvSpPr>
          <p:cNvPr id="61" name="Textplatzhalter 4"/>
          <p:cNvSpPr>
            <a:spLocks noGrp="1"/>
          </p:cNvSpPr>
          <p:nvPr>
            <p:ph type="body" sz="quarter" idx="49" hasCustomPrompt="1"/>
          </p:nvPr>
        </p:nvSpPr>
        <p:spPr>
          <a:xfrm>
            <a:off x="4745036" y="8798757"/>
            <a:ext cx="914400" cy="163485"/>
          </a:xfrm>
        </p:spPr>
        <p:txBody>
          <a:bodyPr/>
          <a:lstStyle>
            <a:lvl2pPr>
              <a:defRPr>
                <a:latin typeface="DWS Sans Bold" panose="02010804010101010104" pitchFamily="50" charset="0"/>
                <a:cs typeface="DWS Sans Bold" panose="02010804010101010104" pitchFamily="50" charset="0"/>
              </a:defRPr>
            </a:lvl2pPr>
          </a:lstStyle>
          <a:p>
            <a:pPr lvl="1"/>
            <a:r>
              <a:rPr lang="de-DE" dirty="0"/>
              <a:t>Zweite Ebene</a:t>
            </a:r>
          </a:p>
        </p:txBody>
      </p:sp>
    </p:spTree>
    <p:extLst>
      <p:ext uri="{BB962C8B-B14F-4D97-AF65-F5344CB8AC3E}">
        <p14:creationId xmlns:p14="http://schemas.microsoft.com/office/powerpoint/2010/main" val="3873100351"/>
      </p:ext>
    </p:extLst>
  </p:cSld>
  <p:clrMapOvr>
    <a:masterClrMapping/>
  </p:clrMapOvr>
  <p:extLst>
    <p:ext uri="{DCECCB84-F9BA-43D5-87BE-67443E8EF086}">
      <p15:sldGuideLst xmlns:p15="http://schemas.microsoft.com/office/powerpoint/2012/main">
        <p15:guide id="1" orient="horz" pos="2143" userDrawn="1">
          <p15:clr>
            <a:srgbClr val="FBAE40"/>
          </p15:clr>
        </p15:guide>
        <p15:guide id="2" orient="horz" pos="6384">
          <p15:clr>
            <a:srgbClr val="FBAE40"/>
          </p15:clr>
        </p15:guide>
        <p15:guide id="3" pos="2427">
          <p15:clr>
            <a:srgbClr val="FBAE40"/>
          </p15:clr>
        </p15:guide>
        <p15:guide id="4" pos="233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rkt &amp; Makro II">
    <p:spTree>
      <p:nvGrpSpPr>
        <p:cNvPr id="1" name=""/>
        <p:cNvGrpSpPr/>
        <p:nvPr/>
      </p:nvGrpSpPr>
      <p:grpSpPr>
        <a:xfrm>
          <a:off x="0" y="0"/>
          <a:ext cx="0" cy="0"/>
          <a:chOff x="0" y="0"/>
          <a:chExt cx="0" cy="0"/>
        </a:xfrm>
      </p:grpSpPr>
      <p:graphicFrame>
        <p:nvGraphicFramePr>
          <p:cNvPr id="20" name="Objekt 19" hidden="1">
            <a:extLst>
              <a:ext uri="{FF2B5EF4-FFF2-40B4-BE49-F238E27FC236}">
                <a16:creationId xmlns:a16="http://schemas.microsoft.com/office/drawing/2014/main" id="{6891F096-6043-4BF9-8371-D1A126016511}"/>
              </a:ext>
            </a:extLst>
          </p:cNvPr>
          <p:cNvGraphicFramePr>
            <a:graphicFrameLocks noChangeAspect="1"/>
          </p:cNvGraphicFramePr>
          <p:nvPr userDrawn="1">
            <p:custDataLst>
              <p:tags r:id="rId1"/>
            </p:custDataLst>
            <p:extLst>
              <p:ext uri="{D42A27DB-BD31-4B8C-83A1-F6EECF244321}">
                <p14:modId xmlns:p14="http://schemas.microsoft.com/office/powerpoint/2010/main" val="2703366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0" name="Objekt 19" hidden="1">
                        <a:extLst>
                          <a:ext uri="{FF2B5EF4-FFF2-40B4-BE49-F238E27FC236}">
                            <a16:creationId xmlns:a16="http://schemas.microsoft.com/office/drawing/2014/main" id="{6891F096-6043-4BF9-8371-D1A1260165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hteck 18" hidden="1">
            <a:extLst>
              <a:ext uri="{FF2B5EF4-FFF2-40B4-BE49-F238E27FC236}">
                <a16:creationId xmlns:a16="http://schemas.microsoft.com/office/drawing/2014/main" id="{6DEFFC93-5A73-4669-9294-867CE1AD2CF7}"/>
              </a:ext>
            </a:extLst>
          </p:cNvPr>
          <p:cNvSpPr/>
          <p:nvPr userDrawn="1">
            <p:custDataLst>
              <p:tags r:id="rId2"/>
            </p:custDataLst>
          </p:nvPr>
        </p:nvSpPr>
        <p:spPr bwMode="auto">
          <a:xfrm>
            <a:off x="0" y="0"/>
            <a:ext cx="158750" cy="158750"/>
          </a:xfrm>
          <a:prstGeom prst="rect">
            <a:avLst/>
          </a:prstGeom>
          <a:solidFill>
            <a:srgbClr val="E6EAEE"/>
          </a:solidFill>
          <a:ln w="6350">
            <a:solidFill>
              <a:srgbClr val="E6EAEE"/>
            </a:solidFill>
            <a:miter lim="800000"/>
            <a:headEnd/>
            <a:tailEnd/>
          </a:ln>
        </p:spPr>
        <p:txBody>
          <a:bodyPr vert="horz" wrap="none" lIns="0" tIns="0" rIns="0" bIns="0" numCol="1" spcCol="0" rtlCol="0" anchor="ctr" anchorCtr="0">
            <a:noAutofit/>
          </a:bodyPr>
          <a:lstStyle/>
          <a:p>
            <a:pPr marL="0" lvl="0" indent="0" algn="ctr" defTabSz="963613" eaLnBrk="0" hangingPunct="0">
              <a:spcBef>
                <a:spcPts val="800"/>
              </a:spcBef>
              <a:buClr>
                <a:schemeClr val="tx1"/>
              </a:buClr>
              <a:buFontTx/>
              <a:buNone/>
              <a:tabLst>
                <a:tab pos="1257300" algn="l"/>
              </a:tabLst>
            </a:pPr>
            <a:endParaRPr lang="en-US" sz="1600" b="0" i="0" baseline="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el 1">
            <a:extLst>
              <a:ext uri="{FF2B5EF4-FFF2-40B4-BE49-F238E27FC236}">
                <a16:creationId xmlns:a16="http://schemas.microsoft.com/office/drawing/2014/main" id="{AB4C2818-3ED9-40FD-A530-B3A8B386744C}"/>
              </a:ext>
            </a:extLst>
          </p:cNvPr>
          <p:cNvSpPr>
            <a:spLocks noGrp="1"/>
          </p:cNvSpPr>
          <p:nvPr>
            <p:ph type="title" hasCustomPrompt="1"/>
          </p:nvPr>
        </p:nvSpPr>
        <p:spPr bwMode="gray">
          <a:xfrm>
            <a:off x="612775" y="2779673"/>
            <a:ext cx="6335713" cy="233910"/>
          </a:xfrm>
        </p:spPr>
        <p:txBody>
          <a:bodyPr/>
          <a:lstStyle>
            <a:lvl1pPr>
              <a:defRPr sz="1600" b="0">
                <a:solidFill>
                  <a:schemeClr val="bg2"/>
                </a:solidFill>
                <a:latin typeface="DWS Sans Light" panose="02010404010101010104" pitchFamily="50" charset="0"/>
                <a:cs typeface="DWS Sans Light" panose="02010404010101010104" pitchFamily="50" charset="0"/>
              </a:defRPr>
            </a:lvl1pPr>
          </a:lstStyle>
          <a:p>
            <a:r>
              <a:rPr lang="en-US" dirty="0"/>
              <a:t>Placeholder title</a:t>
            </a:r>
            <a:endParaRPr lang="de-DE" dirty="0"/>
          </a:p>
        </p:txBody>
      </p:sp>
      <p:sp>
        <p:nvSpPr>
          <p:cNvPr id="3" name="Foliennummernplatzhalter 2">
            <a:extLst>
              <a:ext uri="{FF2B5EF4-FFF2-40B4-BE49-F238E27FC236}">
                <a16:creationId xmlns:a16="http://schemas.microsoft.com/office/drawing/2014/main" id="{040741AE-A581-45AE-97FA-7FB35E3E6F48}"/>
              </a:ext>
            </a:extLst>
          </p:cNvPr>
          <p:cNvSpPr>
            <a:spLocks noGrp="1"/>
          </p:cNvSpPr>
          <p:nvPr>
            <p:ph type="sldNum" sz="quarter" idx="10"/>
          </p:nvPr>
        </p:nvSpPr>
        <p:spPr bwMode="gray">
          <a:xfrm>
            <a:off x="612279" y="10277916"/>
            <a:ext cx="288000" cy="107722"/>
          </a:xfrm>
        </p:spPr>
        <p:txBody>
          <a:bodyPr/>
          <a:lstStyle/>
          <a:p>
            <a:fld id="{3C189ADE-B34A-4B7F-8705-8D7FBD301B3C}" type="slidenum">
              <a:rPr lang="de-DE" smtClean="0"/>
              <a:pPr/>
              <a:t>‹N›</a:t>
            </a:fld>
            <a:endParaRPr lang="de-DE" dirty="0"/>
          </a:p>
        </p:txBody>
      </p:sp>
      <p:sp>
        <p:nvSpPr>
          <p:cNvPr id="25" name="Textplatzhalter 12">
            <a:extLst>
              <a:ext uri="{FF2B5EF4-FFF2-40B4-BE49-F238E27FC236}">
                <a16:creationId xmlns:a16="http://schemas.microsoft.com/office/drawing/2014/main" id="{CDA5A2BA-F61B-41BF-B79F-B5BB15BD5D3E}"/>
              </a:ext>
            </a:extLst>
          </p:cNvPr>
          <p:cNvSpPr>
            <a:spLocks noGrp="1"/>
          </p:cNvSpPr>
          <p:nvPr>
            <p:ph type="body" sz="quarter" idx="15" hasCustomPrompt="1"/>
          </p:nvPr>
        </p:nvSpPr>
        <p:spPr bwMode="gray">
          <a:xfrm>
            <a:off x="612278" y="2502384"/>
            <a:ext cx="173124" cy="169277"/>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1100" b="0">
                <a:solidFill>
                  <a:schemeClr val="accent2"/>
                </a:solidFill>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X</a:t>
            </a:r>
          </a:p>
        </p:txBody>
      </p:sp>
      <p:sp>
        <p:nvSpPr>
          <p:cNvPr id="29" name="Textplatzhalter 12">
            <a:extLst>
              <a:ext uri="{FF2B5EF4-FFF2-40B4-BE49-F238E27FC236}">
                <a16:creationId xmlns:a16="http://schemas.microsoft.com/office/drawing/2014/main" id="{EEF72869-3591-49DF-B605-493E2787BF59}"/>
              </a:ext>
            </a:extLst>
          </p:cNvPr>
          <p:cNvSpPr>
            <a:spLocks noGrp="1"/>
          </p:cNvSpPr>
          <p:nvPr>
            <p:ph type="body" sz="quarter" idx="16" hasCustomPrompt="1"/>
          </p:nvPr>
        </p:nvSpPr>
        <p:spPr bwMode="gray">
          <a:xfrm>
            <a:off x="828303" y="2502384"/>
            <a:ext cx="6120680" cy="169277"/>
          </a:xfrm>
        </p:spPr>
        <p:txBody>
          <a:bodyPr wrap="squar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1100" b="0">
                <a:solidFill>
                  <a:schemeClr val="accent3"/>
                </a:solidFill>
                <a:latin typeface="DWS Slab Light" panose="02010404010101010104" pitchFamily="50" charset="0"/>
                <a:cs typeface="DWS Slab Light" panose="02010404010101010104" pitchFamily="50" charset="0"/>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Placeholder Chapter</a:t>
            </a:r>
          </a:p>
        </p:txBody>
      </p:sp>
      <p:pic>
        <p:nvPicPr>
          <p:cNvPr id="15" name="Grafik 14">
            <a:extLst>
              <a:ext uri="{FF2B5EF4-FFF2-40B4-BE49-F238E27FC236}">
                <a16:creationId xmlns:a16="http://schemas.microsoft.com/office/drawing/2014/main" id="{09D1D295-5291-4D0F-8A41-61B89D43BA7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gray">
          <a:xfrm>
            <a:off x="5222886" y="296648"/>
            <a:ext cx="2009763" cy="1005212"/>
          </a:xfrm>
          <a:prstGeom prst="rect">
            <a:avLst/>
          </a:prstGeom>
        </p:spPr>
      </p:pic>
      <p:sp>
        <p:nvSpPr>
          <p:cNvPr id="13" name="Textplatzhalter 12">
            <a:extLst>
              <a:ext uri="{FF2B5EF4-FFF2-40B4-BE49-F238E27FC236}">
                <a16:creationId xmlns:a16="http://schemas.microsoft.com/office/drawing/2014/main" id="{14E52239-0B41-4EF5-8B95-1BFC25885969}"/>
              </a:ext>
            </a:extLst>
          </p:cNvPr>
          <p:cNvSpPr>
            <a:spLocks noGrp="1"/>
          </p:cNvSpPr>
          <p:nvPr>
            <p:ph type="body" sz="quarter" idx="12" hasCustomPrompt="1"/>
          </p:nvPr>
        </p:nvSpPr>
        <p:spPr bwMode="gray">
          <a:xfrm>
            <a:off x="612278" y="3208174"/>
            <a:ext cx="3096121" cy="836768"/>
          </a:xfrm>
        </p:spPr>
        <p:txBody>
          <a:bodyPr wrap="square">
            <a:spAutoFit/>
          </a:bodyPr>
          <a:lstStyle>
            <a:lvl1pPr>
              <a:defRPr sz="1000">
                <a:solidFill>
                  <a:schemeClr val="accent2"/>
                </a:solidFill>
              </a:defRPr>
            </a:lvl1pPr>
            <a:lvl2pPr marL="171450" marR="0" indent="-171450" algn="l" defTabSz="914400" rtl="0" eaLnBrk="1" fontAlgn="base" latinLnBrk="0" hangingPunct="1">
              <a:lnSpc>
                <a:spcPct val="106000"/>
              </a:lnSpc>
              <a:spcBef>
                <a:spcPts val="200"/>
              </a:spcBef>
              <a:spcAft>
                <a:spcPts val="0"/>
              </a:spcAft>
              <a:buClrTx/>
              <a:buSzTx/>
              <a:buFont typeface="DWS Sans Light" panose="02010404010101010104" pitchFamily="50" charset="0"/>
              <a:buChar char="_"/>
              <a:tabLst/>
              <a:defRPr sz="900">
                <a:solidFill>
                  <a:schemeClr val="bg2"/>
                </a:solidFill>
                <a:latin typeface="DWS Sans Light" panose="02010404010101010104" pitchFamily="50" charset="0"/>
                <a:cs typeface="DWS Sans Light" panose="02010404010101010104" pitchFamily="50" charset="0"/>
              </a:defRPr>
            </a:lvl2pPr>
            <a:lvl3pPr>
              <a:defRPr sz="1000"/>
            </a:lvl3pPr>
            <a:lvl4pPr>
              <a:defRPr sz="1000"/>
            </a:lvl4pPr>
            <a:lvl5pPr marL="0" indent="0">
              <a:buNone/>
              <a:defRPr sz="1200">
                <a:solidFill>
                  <a:schemeClr val="accent3"/>
                </a:solidFill>
              </a:defRPr>
            </a:lvl5pPr>
          </a:lstStyle>
          <a:p>
            <a:pPr lvl="1"/>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p:txBody>
      </p:sp>
      <p:sp>
        <p:nvSpPr>
          <p:cNvPr id="14" name="Textplatzhalter 12">
            <a:extLst>
              <a:ext uri="{FF2B5EF4-FFF2-40B4-BE49-F238E27FC236}">
                <a16:creationId xmlns:a16="http://schemas.microsoft.com/office/drawing/2014/main" id="{BB8FA2F0-290D-4B82-B6F5-D3D9F847C9FA}"/>
              </a:ext>
            </a:extLst>
          </p:cNvPr>
          <p:cNvSpPr>
            <a:spLocks noGrp="1"/>
          </p:cNvSpPr>
          <p:nvPr>
            <p:ph type="body" sz="quarter" idx="13" hasCustomPrompt="1"/>
          </p:nvPr>
        </p:nvSpPr>
        <p:spPr bwMode="gray">
          <a:xfrm>
            <a:off x="3852639" y="3208174"/>
            <a:ext cx="3096121" cy="836768"/>
          </a:xfrm>
        </p:spPr>
        <p:txBody>
          <a:bodyPr wrap="square">
            <a:spAutoFit/>
          </a:bodyPr>
          <a:lstStyle>
            <a:lvl1pPr>
              <a:defRPr sz="1000"/>
            </a:lvl1pPr>
            <a:lvl2pPr marL="0" marR="0" indent="0" algn="l" defTabSz="914400" rtl="0" eaLnBrk="1" fontAlgn="base" latinLnBrk="0" hangingPunct="1">
              <a:lnSpc>
                <a:spcPct val="106000"/>
              </a:lnSpc>
              <a:spcBef>
                <a:spcPts val="200"/>
              </a:spcBef>
              <a:spcAft>
                <a:spcPts val="0"/>
              </a:spcAft>
              <a:buClrTx/>
              <a:buSzTx/>
              <a:buFontTx/>
              <a:buNone/>
              <a:tabLst/>
              <a:defRPr sz="900">
                <a:latin typeface="DWS Sans Light" panose="02010404010101010104" pitchFamily="50" charset="0"/>
                <a:cs typeface="DWS Sans Light" panose="02010404010101010104" pitchFamily="50" charset="0"/>
              </a:defRPr>
            </a:lvl2pPr>
            <a:lvl3pPr>
              <a:defRPr sz="1000"/>
            </a:lvl3pPr>
            <a:lvl4pPr>
              <a:defRPr sz="1000"/>
            </a:lvl4pPr>
            <a:lvl5pPr>
              <a:defRPr sz="1000"/>
            </a:lvl5pPr>
          </a:lstStyle>
          <a:p>
            <a:pPr lvl="1"/>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p:txBody>
      </p:sp>
      <p:cxnSp>
        <p:nvCxnSpPr>
          <p:cNvPr id="8" name="Gerader Verbinder 7">
            <a:extLst>
              <a:ext uri="{FF2B5EF4-FFF2-40B4-BE49-F238E27FC236}">
                <a16:creationId xmlns:a16="http://schemas.microsoft.com/office/drawing/2014/main" id="{D00B0EB4-9029-4A35-8BB1-D5C6115A3D21}"/>
              </a:ext>
            </a:extLst>
          </p:cNvPr>
          <p:cNvCxnSpPr/>
          <p:nvPr userDrawn="1"/>
        </p:nvCxnSpPr>
        <p:spPr bwMode="gray">
          <a:xfrm>
            <a:off x="612631" y="1638288"/>
            <a:ext cx="6336000" cy="0"/>
          </a:xfrm>
          <a:prstGeom prst="line">
            <a:avLst/>
          </a:prstGeom>
          <a:noFill/>
          <a:ln w="12700">
            <a:solidFill>
              <a:srgbClr val="97999B"/>
            </a:solidFill>
            <a:round/>
            <a:headEnd/>
            <a:tailEnd/>
          </a:ln>
        </p:spPr>
      </p:cxnSp>
      <p:cxnSp>
        <p:nvCxnSpPr>
          <p:cNvPr id="17" name="Gerader Verbinder 16">
            <a:extLst>
              <a:ext uri="{FF2B5EF4-FFF2-40B4-BE49-F238E27FC236}">
                <a16:creationId xmlns:a16="http://schemas.microsoft.com/office/drawing/2014/main" id="{1B92B282-B8C4-4596-B3F2-60D2180C2BEF}"/>
              </a:ext>
            </a:extLst>
          </p:cNvPr>
          <p:cNvCxnSpPr/>
          <p:nvPr userDrawn="1"/>
        </p:nvCxnSpPr>
        <p:spPr bwMode="gray">
          <a:xfrm>
            <a:off x="612631" y="1566280"/>
            <a:ext cx="6336000" cy="0"/>
          </a:xfrm>
          <a:prstGeom prst="line">
            <a:avLst/>
          </a:prstGeom>
          <a:noFill/>
          <a:ln w="12700">
            <a:solidFill>
              <a:srgbClr val="97999B"/>
            </a:solidFill>
            <a:round/>
            <a:headEnd/>
            <a:tailEnd/>
          </a:ln>
        </p:spPr>
      </p:cxnSp>
      <p:sp>
        <p:nvSpPr>
          <p:cNvPr id="18" name="Textplatzhalter 12">
            <a:extLst>
              <a:ext uri="{FF2B5EF4-FFF2-40B4-BE49-F238E27FC236}">
                <a16:creationId xmlns:a16="http://schemas.microsoft.com/office/drawing/2014/main" id="{5EABA8C7-D407-4653-B1C4-E460145CA1D6}"/>
              </a:ext>
            </a:extLst>
          </p:cNvPr>
          <p:cNvSpPr>
            <a:spLocks noGrp="1"/>
          </p:cNvSpPr>
          <p:nvPr>
            <p:ph type="body" sz="quarter" idx="17" hasCustomPrompt="1"/>
          </p:nvPr>
        </p:nvSpPr>
        <p:spPr bwMode="gray">
          <a:xfrm>
            <a:off x="612775" y="1854312"/>
            <a:ext cx="6336208" cy="492443"/>
          </a:xfrm>
        </p:spPr>
        <p:txBody>
          <a:bodyPr wrap="squar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3200" b="0">
                <a:solidFill>
                  <a:schemeClr val="accent2"/>
                </a:solidFill>
                <a:latin typeface="DWS Slab Light" panose="02010404010101010104" pitchFamily="50" charset="0"/>
                <a:cs typeface="DWS Slab Light" panose="02010404010101010104" pitchFamily="50" charset="0"/>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Placeholder Header</a:t>
            </a:r>
          </a:p>
        </p:txBody>
      </p:sp>
      <p:sp>
        <p:nvSpPr>
          <p:cNvPr id="22" name="Textplatzhalter 12">
            <a:extLst>
              <a:ext uri="{FF2B5EF4-FFF2-40B4-BE49-F238E27FC236}">
                <a16:creationId xmlns:a16="http://schemas.microsoft.com/office/drawing/2014/main" id="{8FF72595-6360-45DD-94FA-B02E9D2E6138}"/>
              </a:ext>
            </a:extLst>
          </p:cNvPr>
          <p:cNvSpPr>
            <a:spLocks noGrp="1"/>
          </p:cNvSpPr>
          <p:nvPr>
            <p:ph type="body" sz="quarter" idx="18" hasCustomPrompt="1"/>
          </p:nvPr>
        </p:nvSpPr>
        <p:spPr bwMode="gray">
          <a:xfrm>
            <a:off x="612775" y="1689971"/>
            <a:ext cx="6336208" cy="92333"/>
          </a:xfrm>
        </p:spPr>
        <p:txBody>
          <a:bodyPr wrap="square" anchor="t">
            <a:spAutoFit/>
          </a:bodyPr>
          <a:lstStyle>
            <a:lvl1pPr marL="0" marR="0" indent="0" algn="r" defTabSz="914400" rtl="0" eaLnBrk="1" fontAlgn="base" latinLnBrk="0" hangingPunct="1">
              <a:lnSpc>
                <a:spcPct val="100000"/>
              </a:lnSpc>
              <a:spcBef>
                <a:spcPts val="0"/>
              </a:spcBef>
              <a:spcAft>
                <a:spcPts val="0"/>
              </a:spcAft>
              <a:buClrTx/>
              <a:buSzTx/>
              <a:buFont typeface="Arial" panose="020B0604020202020204" pitchFamily="34" charset="0"/>
              <a:buNone/>
              <a:tabLst/>
              <a:defRPr sz="600" b="0">
                <a:solidFill>
                  <a:schemeClr val="accent3"/>
                </a:solidFill>
              </a:defRPr>
            </a:lvl1pPr>
            <a:lvl2pPr marL="0" indent="0">
              <a:lnSpc>
                <a:spcPct val="100000"/>
              </a:lnSpc>
              <a:spcBef>
                <a:spcPts val="0"/>
              </a:spcBef>
              <a:buFont typeface="Arial" panose="020B0604020202020204" pitchFamily="34" charset="0"/>
              <a:buNone/>
              <a:defRPr sz="600">
                <a:solidFill>
                  <a:schemeClr val="accent3"/>
                </a:solidFill>
              </a:defRPr>
            </a:lvl2pPr>
            <a:lvl3pPr marL="0" indent="0">
              <a:lnSpc>
                <a:spcPct val="100000"/>
              </a:lnSpc>
              <a:spcBef>
                <a:spcPts val="0"/>
              </a:spcBef>
              <a:buFont typeface="Arial" panose="020B0604020202020204" pitchFamily="34" charset="0"/>
              <a:buNone/>
              <a:defRPr sz="600">
                <a:solidFill>
                  <a:schemeClr val="accent3"/>
                </a:solidFill>
              </a:defRPr>
            </a:lvl3pPr>
            <a:lvl4pPr marL="0" indent="0">
              <a:lnSpc>
                <a:spcPct val="100000"/>
              </a:lnSpc>
              <a:spcBef>
                <a:spcPts val="0"/>
              </a:spcBef>
              <a:buNone/>
              <a:defRPr sz="600">
                <a:solidFill>
                  <a:schemeClr val="accent3"/>
                </a:solidFill>
              </a:defRPr>
            </a:lvl4pPr>
            <a:lvl5pPr marL="0" indent="0">
              <a:lnSpc>
                <a:spcPct val="100000"/>
              </a:lnSpc>
              <a:spcBef>
                <a:spcPts val="0"/>
              </a:spcBef>
              <a:buNone/>
              <a:defRPr sz="600">
                <a:solidFill>
                  <a:schemeClr val="accent3"/>
                </a:solidFill>
              </a:defRPr>
            </a:lvl5pPr>
          </a:lstStyle>
          <a:p>
            <a:pPr lvl="0"/>
            <a:r>
              <a:rPr lang="en-US" noProof="0" dirty="0"/>
              <a:t>Placeholder Internal use only</a:t>
            </a:r>
          </a:p>
        </p:txBody>
      </p:sp>
      <p:sp>
        <p:nvSpPr>
          <p:cNvPr id="23" name="Textplatzhalter 12">
            <a:extLst>
              <a:ext uri="{FF2B5EF4-FFF2-40B4-BE49-F238E27FC236}">
                <a16:creationId xmlns:a16="http://schemas.microsoft.com/office/drawing/2014/main" id="{7277914C-02F0-4B59-9F60-F68A80F12E66}"/>
              </a:ext>
            </a:extLst>
          </p:cNvPr>
          <p:cNvSpPr>
            <a:spLocks noGrp="1"/>
          </p:cNvSpPr>
          <p:nvPr>
            <p:ph type="body" sz="quarter" idx="19" hasCustomPrompt="1"/>
          </p:nvPr>
        </p:nvSpPr>
        <p:spPr bwMode="gray">
          <a:xfrm>
            <a:off x="612279" y="726376"/>
            <a:ext cx="634789"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Month 20XX</a:t>
            </a:r>
          </a:p>
        </p:txBody>
      </p:sp>
      <p:sp>
        <p:nvSpPr>
          <p:cNvPr id="26" name="Parallelogramm 25">
            <a:extLst>
              <a:ext uri="{FF2B5EF4-FFF2-40B4-BE49-F238E27FC236}">
                <a16:creationId xmlns:a16="http://schemas.microsoft.com/office/drawing/2014/main" id="{4793A6C0-BE02-4AAC-BB64-2C3B544AA3E2}"/>
              </a:ext>
            </a:extLst>
          </p:cNvPr>
          <p:cNvSpPr/>
          <p:nvPr userDrawn="1"/>
        </p:nvSpPr>
        <p:spPr bwMode="gray">
          <a:xfrm>
            <a:off x="1245393" y="293182"/>
            <a:ext cx="862013" cy="1004888"/>
          </a:xfrm>
          <a:prstGeom prst="parallelogram">
            <a:avLst>
              <a:gd name="adj" fmla="val 98481"/>
            </a:avLst>
          </a:prstGeom>
          <a:solidFill>
            <a:srgbClr val="97999B"/>
          </a:solidFill>
          <a:ln w="6350">
            <a:noFill/>
            <a:miter lim="800000"/>
            <a:headEnd/>
            <a:tailEnd/>
          </a:ln>
        </p:spPr>
        <p:txBody>
          <a:bodyPr lIns="108000" tIns="72000" rIns="108000" bIns="72000" rtlCol="0" anchor="ctr">
            <a:noAutofit/>
          </a:bodyPr>
          <a:lstStyle/>
          <a:p>
            <a:pPr marL="266700" indent="-266700" algn="ctr" defTabSz="963613" eaLnBrk="0" hangingPunct="0">
              <a:spcBef>
                <a:spcPts val="800"/>
              </a:spcBef>
              <a:buClr>
                <a:schemeClr val="tx1"/>
              </a:buClr>
              <a:buFont typeface="Arial" pitchFamily="34" charset="0"/>
              <a:buChar char="—"/>
              <a:tabLst>
                <a:tab pos="1257300" algn="l"/>
              </a:tabLst>
            </a:pPr>
            <a:endParaRPr lang="en-US" sz="1000" dirty="0">
              <a:latin typeface="+mn-lt"/>
            </a:endParaRPr>
          </a:p>
        </p:txBody>
      </p:sp>
      <p:sp>
        <p:nvSpPr>
          <p:cNvPr id="30" name="Textplatzhalter 12">
            <a:extLst>
              <a:ext uri="{FF2B5EF4-FFF2-40B4-BE49-F238E27FC236}">
                <a16:creationId xmlns:a16="http://schemas.microsoft.com/office/drawing/2014/main" id="{05856FC8-CE4C-49DA-8819-FDD91233A9C6}"/>
              </a:ext>
            </a:extLst>
          </p:cNvPr>
          <p:cNvSpPr>
            <a:spLocks noGrp="1"/>
          </p:cNvSpPr>
          <p:nvPr>
            <p:ph type="body" sz="quarter" idx="20" hasCustomPrompt="1"/>
          </p:nvPr>
        </p:nvSpPr>
        <p:spPr bwMode="gray">
          <a:xfrm>
            <a:off x="2345519" y="366674"/>
            <a:ext cx="1134926"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Placeholder Contents:</a:t>
            </a:r>
          </a:p>
        </p:txBody>
      </p:sp>
      <p:sp>
        <p:nvSpPr>
          <p:cNvPr id="31" name="Textplatzhalter 12">
            <a:extLst>
              <a:ext uri="{FF2B5EF4-FFF2-40B4-BE49-F238E27FC236}">
                <a16:creationId xmlns:a16="http://schemas.microsoft.com/office/drawing/2014/main" id="{02CB252D-2BD2-468A-9996-BA142368EC8B}"/>
              </a:ext>
            </a:extLst>
          </p:cNvPr>
          <p:cNvSpPr>
            <a:spLocks noGrp="1"/>
          </p:cNvSpPr>
          <p:nvPr>
            <p:ph type="body" sz="quarter" idx="21" hasCustomPrompt="1"/>
          </p:nvPr>
        </p:nvSpPr>
        <p:spPr bwMode="gray">
          <a:xfrm>
            <a:off x="2291314" y="510555"/>
            <a:ext cx="128240"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1</a:t>
            </a:r>
          </a:p>
        </p:txBody>
      </p:sp>
      <p:sp>
        <p:nvSpPr>
          <p:cNvPr id="32" name="Textplatzhalter 12">
            <a:extLst>
              <a:ext uri="{FF2B5EF4-FFF2-40B4-BE49-F238E27FC236}">
                <a16:creationId xmlns:a16="http://schemas.microsoft.com/office/drawing/2014/main" id="{1E3A95D2-7ED9-47AE-9775-EB8F59BA7ACF}"/>
              </a:ext>
            </a:extLst>
          </p:cNvPr>
          <p:cNvSpPr>
            <a:spLocks noGrp="1"/>
          </p:cNvSpPr>
          <p:nvPr>
            <p:ph type="body" sz="quarter" idx="22" hasCustomPrompt="1"/>
          </p:nvPr>
        </p:nvSpPr>
        <p:spPr bwMode="gray">
          <a:xfrm>
            <a:off x="2174630" y="654436"/>
            <a:ext cx="128588" cy="138499"/>
          </a:xfrm>
        </p:spPr>
        <p:txBody>
          <a:bodyPr wrap="none" anchor="ctr">
            <a:no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2</a:t>
            </a:r>
          </a:p>
        </p:txBody>
      </p:sp>
      <p:sp>
        <p:nvSpPr>
          <p:cNvPr id="33" name="Textplatzhalter 12">
            <a:extLst>
              <a:ext uri="{FF2B5EF4-FFF2-40B4-BE49-F238E27FC236}">
                <a16:creationId xmlns:a16="http://schemas.microsoft.com/office/drawing/2014/main" id="{9E0DCCC2-18D1-4500-B536-6A1B653E76C2}"/>
              </a:ext>
            </a:extLst>
          </p:cNvPr>
          <p:cNvSpPr>
            <a:spLocks noGrp="1"/>
          </p:cNvSpPr>
          <p:nvPr>
            <p:ph type="body" sz="quarter" idx="23" hasCustomPrompt="1"/>
          </p:nvPr>
        </p:nvSpPr>
        <p:spPr bwMode="gray">
          <a:xfrm>
            <a:off x="2058295" y="798317"/>
            <a:ext cx="128240"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3</a:t>
            </a:r>
          </a:p>
        </p:txBody>
      </p:sp>
      <p:sp>
        <p:nvSpPr>
          <p:cNvPr id="34" name="Textplatzhalter 12">
            <a:extLst>
              <a:ext uri="{FF2B5EF4-FFF2-40B4-BE49-F238E27FC236}">
                <a16:creationId xmlns:a16="http://schemas.microsoft.com/office/drawing/2014/main" id="{070B562A-D92A-4BA8-8307-62CB2C3BF291}"/>
              </a:ext>
            </a:extLst>
          </p:cNvPr>
          <p:cNvSpPr>
            <a:spLocks noGrp="1"/>
          </p:cNvSpPr>
          <p:nvPr>
            <p:ph type="body" sz="quarter" idx="24" hasCustomPrompt="1"/>
          </p:nvPr>
        </p:nvSpPr>
        <p:spPr bwMode="gray">
          <a:xfrm>
            <a:off x="1941960" y="942198"/>
            <a:ext cx="128240"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4</a:t>
            </a:r>
          </a:p>
        </p:txBody>
      </p:sp>
      <p:sp>
        <p:nvSpPr>
          <p:cNvPr id="35" name="Textplatzhalter 12">
            <a:extLst>
              <a:ext uri="{FF2B5EF4-FFF2-40B4-BE49-F238E27FC236}">
                <a16:creationId xmlns:a16="http://schemas.microsoft.com/office/drawing/2014/main" id="{EB74D7FD-D93F-4F5C-8DFF-06F820B4FB9D}"/>
              </a:ext>
            </a:extLst>
          </p:cNvPr>
          <p:cNvSpPr>
            <a:spLocks noGrp="1"/>
          </p:cNvSpPr>
          <p:nvPr>
            <p:ph type="body" sz="quarter" idx="25" hasCustomPrompt="1"/>
          </p:nvPr>
        </p:nvSpPr>
        <p:spPr bwMode="gray">
          <a:xfrm>
            <a:off x="1825625" y="1086079"/>
            <a:ext cx="128240"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5</a:t>
            </a:r>
          </a:p>
        </p:txBody>
      </p:sp>
      <p:sp>
        <p:nvSpPr>
          <p:cNvPr id="36" name="Textplatzhalter 12">
            <a:extLst>
              <a:ext uri="{FF2B5EF4-FFF2-40B4-BE49-F238E27FC236}">
                <a16:creationId xmlns:a16="http://schemas.microsoft.com/office/drawing/2014/main" id="{EC0EF89B-1985-43EE-B7DB-20319778334F}"/>
              </a:ext>
            </a:extLst>
          </p:cNvPr>
          <p:cNvSpPr>
            <a:spLocks noGrp="1"/>
          </p:cNvSpPr>
          <p:nvPr>
            <p:ph type="body" sz="quarter" idx="26" hasCustomPrompt="1"/>
          </p:nvPr>
        </p:nvSpPr>
        <p:spPr bwMode="gray">
          <a:xfrm>
            <a:off x="2476564" y="510555"/>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37" name="Textplatzhalter 12">
            <a:extLst>
              <a:ext uri="{FF2B5EF4-FFF2-40B4-BE49-F238E27FC236}">
                <a16:creationId xmlns:a16="http://schemas.microsoft.com/office/drawing/2014/main" id="{86262E24-4DCD-46BC-9291-F22D3FA1E8DA}"/>
              </a:ext>
            </a:extLst>
          </p:cNvPr>
          <p:cNvSpPr>
            <a:spLocks noGrp="1"/>
          </p:cNvSpPr>
          <p:nvPr>
            <p:ph type="body" sz="quarter" idx="27" hasCustomPrompt="1"/>
          </p:nvPr>
        </p:nvSpPr>
        <p:spPr bwMode="gray">
          <a:xfrm>
            <a:off x="2359880" y="654436"/>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38" name="Textplatzhalter 12">
            <a:extLst>
              <a:ext uri="{FF2B5EF4-FFF2-40B4-BE49-F238E27FC236}">
                <a16:creationId xmlns:a16="http://schemas.microsoft.com/office/drawing/2014/main" id="{9469E5F3-CE59-40D1-A516-216329B3A1AF}"/>
              </a:ext>
            </a:extLst>
          </p:cNvPr>
          <p:cNvSpPr>
            <a:spLocks noGrp="1"/>
          </p:cNvSpPr>
          <p:nvPr>
            <p:ph type="body" sz="quarter" idx="28" hasCustomPrompt="1"/>
          </p:nvPr>
        </p:nvSpPr>
        <p:spPr bwMode="gray">
          <a:xfrm>
            <a:off x="2243545" y="798317"/>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39" name="Textplatzhalter 12">
            <a:extLst>
              <a:ext uri="{FF2B5EF4-FFF2-40B4-BE49-F238E27FC236}">
                <a16:creationId xmlns:a16="http://schemas.microsoft.com/office/drawing/2014/main" id="{BDCFA413-6E54-4AAE-8F29-B67DFA6E06E4}"/>
              </a:ext>
            </a:extLst>
          </p:cNvPr>
          <p:cNvSpPr>
            <a:spLocks noGrp="1"/>
          </p:cNvSpPr>
          <p:nvPr>
            <p:ph type="body" sz="quarter" idx="29" hasCustomPrompt="1"/>
          </p:nvPr>
        </p:nvSpPr>
        <p:spPr bwMode="gray">
          <a:xfrm>
            <a:off x="2127210" y="942198"/>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40" name="Textplatzhalter 12">
            <a:extLst>
              <a:ext uri="{FF2B5EF4-FFF2-40B4-BE49-F238E27FC236}">
                <a16:creationId xmlns:a16="http://schemas.microsoft.com/office/drawing/2014/main" id="{794D9C5B-6933-4E7A-A0C1-314BB74373AB}"/>
              </a:ext>
            </a:extLst>
          </p:cNvPr>
          <p:cNvSpPr>
            <a:spLocks noGrp="1"/>
          </p:cNvSpPr>
          <p:nvPr>
            <p:ph type="body" sz="quarter" idx="30" hasCustomPrompt="1"/>
          </p:nvPr>
        </p:nvSpPr>
        <p:spPr bwMode="gray">
          <a:xfrm>
            <a:off x="2010875" y="1086079"/>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6" name="Bildplatzhalter 5"/>
          <p:cNvSpPr>
            <a:spLocks noGrp="1"/>
          </p:cNvSpPr>
          <p:nvPr>
            <p:ph type="pic" sz="quarter" idx="31"/>
          </p:nvPr>
        </p:nvSpPr>
        <p:spPr>
          <a:xfrm>
            <a:off x="612775" y="4286568"/>
            <a:ext cx="6335713" cy="2925762"/>
          </a:xfrm>
        </p:spPr>
        <p:txBody>
          <a:bodyPr/>
          <a:lstStyle/>
          <a:p>
            <a:endParaRPr lang="de-DE" dirty="0"/>
          </a:p>
        </p:txBody>
      </p:sp>
      <p:sp>
        <p:nvSpPr>
          <p:cNvPr id="5" name="Textplatzhalter 4"/>
          <p:cNvSpPr>
            <a:spLocks noGrp="1"/>
          </p:cNvSpPr>
          <p:nvPr>
            <p:ph type="body" sz="quarter" idx="32"/>
          </p:nvPr>
        </p:nvSpPr>
        <p:spPr>
          <a:xfrm>
            <a:off x="612774" y="7475538"/>
            <a:ext cx="6335713" cy="171132"/>
          </a:xfrm>
        </p:spPr>
        <p:txBody>
          <a:bodyPr/>
          <a:lstStyle/>
          <a:p>
            <a:pPr lvl="0"/>
            <a:r>
              <a:rPr lang="de-DE" dirty="0"/>
              <a:t>Textmasterformat bearbeiten</a:t>
            </a:r>
          </a:p>
        </p:txBody>
      </p:sp>
      <p:sp>
        <p:nvSpPr>
          <p:cNvPr id="10" name="Textplatzhalter 9"/>
          <p:cNvSpPr>
            <a:spLocks noGrp="1"/>
          </p:cNvSpPr>
          <p:nvPr>
            <p:ph type="body" sz="quarter" idx="33" hasCustomPrompt="1"/>
          </p:nvPr>
        </p:nvSpPr>
        <p:spPr>
          <a:xfrm>
            <a:off x="612775" y="7714615"/>
            <a:ext cx="6335712" cy="412115"/>
          </a:xfrm>
        </p:spPr>
        <p:txBody>
          <a:bodyPr/>
          <a:lstStyle>
            <a:lvl2pPr marL="0" marR="0" indent="0" algn="l" defTabSz="914400" rtl="0" eaLnBrk="1" fontAlgn="base" latinLnBrk="0" hangingPunct="1">
              <a:lnSpc>
                <a:spcPct val="106000"/>
              </a:lnSpc>
              <a:spcBef>
                <a:spcPts val="200"/>
              </a:spcBef>
              <a:spcAft>
                <a:spcPts val="0"/>
              </a:spcAft>
              <a:buClrTx/>
              <a:buSzTx/>
              <a:buFontTx/>
              <a:buNone/>
              <a:tabLst/>
              <a:defRPr/>
            </a:lvl2pPr>
          </a:lstStyle>
          <a:p>
            <a:pPr lvl="1"/>
            <a:r>
              <a:rPr lang="de-DE" dirty="0"/>
              <a:t>Zweite Ebene</a:t>
            </a:r>
          </a:p>
          <a:p>
            <a:pPr marL="0" marR="0" lvl="1" indent="0" algn="l" defTabSz="914400" rtl="0" eaLnBrk="1" fontAlgn="base" latinLnBrk="0" hangingPunct="1">
              <a:lnSpc>
                <a:spcPct val="106000"/>
              </a:lnSpc>
              <a:spcBef>
                <a:spcPts val="200"/>
              </a:spcBef>
              <a:spcAft>
                <a:spcPts val="0"/>
              </a:spcAft>
              <a:buClrTx/>
              <a:buSzTx/>
              <a:buFontTx/>
              <a:buNone/>
              <a:tabLst/>
              <a:defRPr/>
            </a:pPr>
            <a:r>
              <a:rPr lang="de-DE" dirty="0"/>
              <a:t>Zweite Ebene</a:t>
            </a:r>
          </a:p>
          <a:p>
            <a:pPr lvl="1"/>
            <a:endParaRPr lang="de-DE" dirty="0"/>
          </a:p>
        </p:txBody>
      </p:sp>
      <p:sp>
        <p:nvSpPr>
          <p:cNvPr id="21" name="Tabellenplatzhalter 20"/>
          <p:cNvSpPr>
            <a:spLocks noGrp="1"/>
          </p:cNvSpPr>
          <p:nvPr>
            <p:ph type="tbl" sz="quarter" idx="34"/>
          </p:nvPr>
        </p:nvSpPr>
        <p:spPr>
          <a:xfrm>
            <a:off x="612775" y="8275638"/>
            <a:ext cx="6335713" cy="1908175"/>
          </a:xfrm>
        </p:spPr>
        <p:txBody>
          <a:bodyPr/>
          <a:lstStyle/>
          <a:p>
            <a:endParaRPr lang="de-DE" dirty="0"/>
          </a:p>
        </p:txBody>
      </p:sp>
    </p:spTree>
    <p:extLst>
      <p:ext uri="{BB962C8B-B14F-4D97-AF65-F5344CB8AC3E}">
        <p14:creationId xmlns:p14="http://schemas.microsoft.com/office/powerpoint/2010/main" val="1993586001"/>
      </p:ext>
    </p:extLst>
  </p:cSld>
  <p:clrMapOvr>
    <a:masterClrMapping/>
  </p:clrMapOvr>
  <p:extLst>
    <p:ext uri="{DCECCB84-F9BA-43D5-87BE-67443E8EF086}">
      <p15:sldGuideLst xmlns:p15="http://schemas.microsoft.com/office/powerpoint/2012/main">
        <p15:guide id="1" orient="horz" pos="2143">
          <p15:clr>
            <a:srgbClr val="FBAE40"/>
          </p15:clr>
        </p15:guide>
        <p15:guide id="2" orient="horz" pos="6384">
          <p15:clr>
            <a:srgbClr val="FBAE40"/>
          </p15:clr>
        </p15:guide>
        <p15:guide id="3" pos="2427">
          <p15:clr>
            <a:srgbClr val="FBAE40"/>
          </p15:clr>
        </p15:guide>
        <p15:guide id="4" pos="233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Markt &amp; Makro II">
    <p:spTree>
      <p:nvGrpSpPr>
        <p:cNvPr id="1" name=""/>
        <p:cNvGrpSpPr/>
        <p:nvPr/>
      </p:nvGrpSpPr>
      <p:grpSpPr>
        <a:xfrm>
          <a:off x="0" y="0"/>
          <a:ext cx="0" cy="0"/>
          <a:chOff x="0" y="0"/>
          <a:chExt cx="0" cy="0"/>
        </a:xfrm>
      </p:grpSpPr>
      <p:graphicFrame>
        <p:nvGraphicFramePr>
          <p:cNvPr id="20" name="Objekt 19" hidden="1">
            <a:extLst>
              <a:ext uri="{FF2B5EF4-FFF2-40B4-BE49-F238E27FC236}">
                <a16:creationId xmlns:a16="http://schemas.microsoft.com/office/drawing/2014/main" id="{6891F096-6043-4BF9-8371-D1A126016511}"/>
              </a:ext>
            </a:extLst>
          </p:cNvPr>
          <p:cNvGraphicFramePr>
            <a:graphicFrameLocks noChangeAspect="1"/>
          </p:cNvGraphicFramePr>
          <p:nvPr userDrawn="1">
            <p:custDataLst>
              <p:tags r:id="rId1"/>
            </p:custDataLst>
            <p:extLst>
              <p:ext uri="{D42A27DB-BD31-4B8C-83A1-F6EECF244321}">
                <p14:modId xmlns:p14="http://schemas.microsoft.com/office/powerpoint/2010/main" val="302309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0" name="Objekt 19" hidden="1">
                        <a:extLst>
                          <a:ext uri="{FF2B5EF4-FFF2-40B4-BE49-F238E27FC236}">
                            <a16:creationId xmlns:a16="http://schemas.microsoft.com/office/drawing/2014/main" id="{6891F096-6043-4BF9-8371-D1A1260165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hteck 18" hidden="1">
            <a:extLst>
              <a:ext uri="{FF2B5EF4-FFF2-40B4-BE49-F238E27FC236}">
                <a16:creationId xmlns:a16="http://schemas.microsoft.com/office/drawing/2014/main" id="{6DEFFC93-5A73-4669-9294-867CE1AD2CF7}"/>
              </a:ext>
            </a:extLst>
          </p:cNvPr>
          <p:cNvSpPr/>
          <p:nvPr userDrawn="1">
            <p:custDataLst>
              <p:tags r:id="rId2"/>
            </p:custDataLst>
          </p:nvPr>
        </p:nvSpPr>
        <p:spPr bwMode="auto">
          <a:xfrm>
            <a:off x="0" y="0"/>
            <a:ext cx="158750" cy="158750"/>
          </a:xfrm>
          <a:prstGeom prst="rect">
            <a:avLst/>
          </a:prstGeom>
          <a:solidFill>
            <a:srgbClr val="E6EAEE"/>
          </a:solidFill>
          <a:ln w="6350">
            <a:solidFill>
              <a:srgbClr val="E6EAEE"/>
            </a:solidFill>
            <a:miter lim="800000"/>
            <a:headEnd/>
            <a:tailEnd/>
          </a:ln>
        </p:spPr>
        <p:txBody>
          <a:bodyPr vert="horz" wrap="none" lIns="0" tIns="0" rIns="0" bIns="0" numCol="1" spcCol="0" rtlCol="0" anchor="ctr" anchorCtr="0">
            <a:noAutofit/>
          </a:bodyPr>
          <a:lstStyle/>
          <a:p>
            <a:pPr marL="0" lvl="0" indent="0" algn="ctr" defTabSz="963613" eaLnBrk="0" hangingPunct="0">
              <a:spcBef>
                <a:spcPts val="800"/>
              </a:spcBef>
              <a:buClr>
                <a:schemeClr val="tx1"/>
              </a:buClr>
              <a:buFontTx/>
              <a:buNone/>
              <a:tabLst>
                <a:tab pos="1257300" algn="l"/>
              </a:tabLst>
            </a:pPr>
            <a:endParaRPr lang="en-US" sz="1600" b="0" i="0" baseline="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el 1">
            <a:extLst>
              <a:ext uri="{FF2B5EF4-FFF2-40B4-BE49-F238E27FC236}">
                <a16:creationId xmlns:a16="http://schemas.microsoft.com/office/drawing/2014/main" id="{AB4C2818-3ED9-40FD-A530-B3A8B386744C}"/>
              </a:ext>
            </a:extLst>
          </p:cNvPr>
          <p:cNvSpPr>
            <a:spLocks noGrp="1"/>
          </p:cNvSpPr>
          <p:nvPr>
            <p:ph type="title" hasCustomPrompt="1"/>
          </p:nvPr>
        </p:nvSpPr>
        <p:spPr bwMode="gray">
          <a:xfrm>
            <a:off x="612775" y="2779673"/>
            <a:ext cx="6335713" cy="233910"/>
          </a:xfrm>
        </p:spPr>
        <p:txBody>
          <a:bodyPr/>
          <a:lstStyle>
            <a:lvl1pPr>
              <a:defRPr sz="1600" b="0">
                <a:solidFill>
                  <a:schemeClr val="bg2"/>
                </a:solidFill>
                <a:latin typeface="DWS Sans Light" panose="02010404010101010104" pitchFamily="50" charset="0"/>
                <a:cs typeface="DWS Sans Light" panose="02010404010101010104" pitchFamily="50" charset="0"/>
              </a:defRPr>
            </a:lvl1pPr>
          </a:lstStyle>
          <a:p>
            <a:r>
              <a:rPr lang="en-US" dirty="0"/>
              <a:t>Placeholder title</a:t>
            </a:r>
            <a:endParaRPr lang="de-DE" dirty="0"/>
          </a:p>
        </p:txBody>
      </p:sp>
      <p:sp>
        <p:nvSpPr>
          <p:cNvPr id="25" name="Textplatzhalter 12">
            <a:extLst>
              <a:ext uri="{FF2B5EF4-FFF2-40B4-BE49-F238E27FC236}">
                <a16:creationId xmlns:a16="http://schemas.microsoft.com/office/drawing/2014/main" id="{CDA5A2BA-F61B-41BF-B79F-B5BB15BD5D3E}"/>
              </a:ext>
            </a:extLst>
          </p:cNvPr>
          <p:cNvSpPr>
            <a:spLocks noGrp="1"/>
          </p:cNvSpPr>
          <p:nvPr>
            <p:ph type="body" sz="quarter" idx="15" hasCustomPrompt="1"/>
          </p:nvPr>
        </p:nvSpPr>
        <p:spPr bwMode="gray">
          <a:xfrm>
            <a:off x="612278" y="2502384"/>
            <a:ext cx="173124" cy="169277"/>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1100" b="0">
                <a:solidFill>
                  <a:schemeClr val="accent2"/>
                </a:solidFill>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X</a:t>
            </a:r>
          </a:p>
        </p:txBody>
      </p:sp>
      <p:sp>
        <p:nvSpPr>
          <p:cNvPr id="29" name="Textplatzhalter 12">
            <a:extLst>
              <a:ext uri="{FF2B5EF4-FFF2-40B4-BE49-F238E27FC236}">
                <a16:creationId xmlns:a16="http://schemas.microsoft.com/office/drawing/2014/main" id="{EEF72869-3591-49DF-B605-493E2787BF59}"/>
              </a:ext>
            </a:extLst>
          </p:cNvPr>
          <p:cNvSpPr>
            <a:spLocks noGrp="1"/>
          </p:cNvSpPr>
          <p:nvPr>
            <p:ph type="body" sz="quarter" idx="16" hasCustomPrompt="1"/>
          </p:nvPr>
        </p:nvSpPr>
        <p:spPr bwMode="gray">
          <a:xfrm>
            <a:off x="828303" y="2502384"/>
            <a:ext cx="6120680" cy="169277"/>
          </a:xfrm>
        </p:spPr>
        <p:txBody>
          <a:bodyPr wrap="squar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1100" b="0">
                <a:solidFill>
                  <a:schemeClr val="accent3"/>
                </a:solidFill>
                <a:latin typeface="DWS Slab Light" panose="02010404010101010104" pitchFamily="50" charset="0"/>
                <a:cs typeface="DWS Slab Light" panose="02010404010101010104" pitchFamily="50" charset="0"/>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Placeholder Chapter</a:t>
            </a:r>
          </a:p>
        </p:txBody>
      </p:sp>
      <p:pic>
        <p:nvPicPr>
          <p:cNvPr id="15" name="Grafik 14">
            <a:extLst>
              <a:ext uri="{FF2B5EF4-FFF2-40B4-BE49-F238E27FC236}">
                <a16:creationId xmlns:a16="http://schemas.microsoft.com/office/drawing/2014/main" id="{09D1D295-5291-4D0F-8A41-61B89D43BA7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gray">
          <a:xfrm>
            <a:off x="5222886" y="296648"/>
            <a:ext cx="2009763" cy="1005212"/>
          </a:xfrm>
          <a:prstGeom prst="rect">
            <a:avLst/>
          </a:prstGeom>
        </p:spPr>
      </p:pic>
      <p:sp>
        <p:nvSpPr>
          <p:cNvPr id="13" name="Textplatzhalter 12">
            <a:extLst>
              <a:ext uri="{FF2B5EF4-FFF2-40B4-BE49-F238E27FC236}">
                <a16:creationId xmlns:a16="http://schemas.microsoft.com/office/drawing/2014/main" id="{14E52239-0B41-4EF5-8B95-1BFC25885969}"/>
              </a:ext>
            </a:extLst>
          </p:cNvPr>
          <p:cNvSpPr>
            <a:spLocks noGrp="1"/>
          </p:cNvSpPr>
          <p:nvPr>
            <p:ph type="body" sz="quarter" idx="12" hasCustomPrompt="1"/>
          </p:nvPr>
        </p:nvSpPr>
        <p:spPr bwMode="gray">
          <a:xfrm>
            <a:off x="612278" y="3208174"/>
            <a:ext cx="3096121" cy="836768"/>
          </a:xfrm>
        </p:spPr>
        <p:txBody>
          <a:bodyPr wrap="square">
            <a:spAutoFit/>
          </a:bodyPr>
          <a:lstStyle>
            <a:lvl1pPr>
              <a:defRPr sz="1000">
                <a:solidFill>
                  <a:schemeClr val="accent2"/>
                </a:solidFill>
              </a:defRPr>
            </a:lvl1pPr>
            <a:lvl2pPr marL="0" marR="0" indent="0" algn="l" defTabSz="914400" rtl="0" eaLnBrk="1" fontAlgn="base" latinLnBrk="0" hangingPunct="1">
              <a:lnSpc>
                <a:spcPct val="106000"/>
              </a:lnSpc>
              <a:spcBef>
                <a:spcPts val="200"/>
              </a:spcBef>
              <a:spcAft>
                <a:spcPts val="0"/>
              </a:spcAft>
              <a:buClrTx/>
              <a:buSzTx/>
              <a:buFont typeface="DWS Sans Light" panose="02010404010101010104" pitchFamily="50" charset="0"/>
              <a:buNone/>
              <a:tabLst/>
              <a:defRPr sz="900">
                <a:solidFill>
                  <a:schemeClr val="bg2"/>
                </a:solidFill>
                <a:latin typeface="DWS Sans Light" panose="02010404010101010104" pitchFamily="50" charset="0"/>
                <a:cs typeface="DWS Sans Light" panose="02010404010101010104" pitchFamily="50" charset="0"/>
              </a:defRPr>
            </a:lvl2pPr>
            <a:lvl3pPr>
              <a:defRPr sz="1000"/>
            </a:lvl3pPr>
            <a:lvl4pPr>
              <a:defRPr sz="1000"/>
            </a:lvl4pPr>
            <a:lvl5pPr marL="0" indent="0">
              <a:buNone/>
              <a:defRPr sz="1200">
                <a:solidFill>
                  <a:schemeClr val="accent3"/>
                </a:solidFill>
              </a:defRPr>
            </a:lvl5pPr>
          </a:lstStyle>
          <a:p>
            <a:pPr lvl="1"/>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p:txBody>
      </p:sp>
      <p:sp>
        <p:nvSpPr>
          <p:cNvPr id="14" name="Textplatzhalter 12">
            <a:extLst>
              <a:ext uri="{FF2B5EF4-FFF2-40B4-BE49-F238E27FC236}">
                <a16:creationId xmlns:a16="http://schemas.microsoft.com/office/drawing/2014/main" id="{BB8FA2F0-290D-4B82-B6F5-D3D9F847C9FA}"/>
              </a:ext>
            </a:extLst>
          </p:cNvPr>
          <p:cNvSpPr>
            <a:spLocks noGrp="1"/>
          </p:cNvSpPr>
          <p:nvPr>
            <p:ph type="body" sz="quarter" idx="13" hasCustomPrompt="1"/>
          </p:nvPr>
        </p:nvSpPr>
        <p:spPr bwMode="gray">
          <a:xfrm>
            <a:off x="3852639" y="3208174"/>
            <a:ext cx="3096121" cy="836768"/>
          </a:xfrm>
        </p:spPr>
        <p:txBody>
          <a:bodyPr wrap="square">
            <a:spAutoFit/>
          </a:bodyPr>
          <a:lstStyle>
            <a:lvl1pPr>
              <a:defRPr sz="1000"/>
            </a:lvl1pPr>
            <a:lvl2pPr marL="0" marR="0" indent="0" algn="l" defTabSz="914400" rtl="0" eaLnBrk="1" fontAlgn="base" latinLnBrk="0" hangingPunct="1">
              <a:lnSpc>
                <a:spcPct val="106000"/>
              </a:lnSpc>
              <a:spcBef>
                <a:spcPts val="200"/>
              </a:spcBef>
              <a:spcAft>
                <a:spcPts val="0"/>
              </a:spcAft>
              <a:buClrTx/>
              <a:buSzTx/>
              <a:buFontTx/>
              <a:buNone/>
              <a:tabLst/>
              <a:defRPr sz="900">
                <a:latin typeface="DWS Sans Light" panose="02010404010101010104" pitchFamily="50" charset="0"/>
                <a:cs typeface="DWS Sans Light" panose="02010404010101010104" pitchFamily="50" charset="0"/>
              </a:defRPr>
            </a:lvl2pPr>
            <a:lvl3pPr>
              <a:defRPr sz="1000"/>
            </a:lvl3pPr>
            <a:lvl4pPr>
              <a:defRPr sz="1000"/>
            </a:lvl4pPr>
            <a:lvl5pPr>
              <a:defRPr sz="1000"/>
            </a:lvl5pPr>
          </a:lstStyle>
          <a:p>
            <a:pPr lvl="1"/>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p:txBody>
      </p:sp>
      <p:cxnSp>
        <p:nvCxnSpPr>
          <p:cNvPr id="8" name="Gerader Verbinder 7">
            <a:extLst>
              <a:ext uri="{FF2B5EF4-FFF2-40B4-BE49-F238E27FC236}">
                <a16:creationId xmlns:a16="http://schemas.microsoft.com/office/drawing/2014/main" id="{D00B0EB4-9029-4A35-8BB1-D5C6115A3D21}"/>
              </a:ext>
            </a:extLst>
          </p:cNvPr>
          <p:cNvCxnSpPr/>
          <p:nvPr userDrawn="1"/>
        </p:nvCxnSpPr>
        <p:spPr bwMode="gray">
          <a:xfrm>
            <a:off x="612631" y="1638288"/>
            <a:ext cx="6336000" cy="0"/>
          </a:xfrm>
          <a:prstGeom prst="line">
            <a:avLst/>
          </a:prstGeom>
          <a:noFill/>
          <a:ln w="12700">
            <a:solidFill>
              <a:srgbClr val="97999B"/>
            </a:solidFill>
            <a:round/>
            <a:headEnd/>
            <a:tailEnd/>
          </a:ln>
        </p:spPr>
      </p:cxnSp>
      <p:cxnSp>
        <p:nvCxnSpPr>
          <p:cNvPr id="17" name="Gerader Verbinder 16">
            <a:extLst>
              <a:ext uri="{FF2B5EF4-FFF2-40B4-BE49-F238E27FC236}">
                <a16:creationId xmlns:a16="http://schemas.microsoft.com/office/drawing/2014/main" id="{1B92B282-B8C4-4596-B3F2-60D2180C2BEF}"/>
              </a:ext>
            </a:extLst>
          </p:cNvPr>
          <p:cNvCxnSpPr/>
          <p:nvPr userDrawn="1"/>
        </p:nvCxnSpPr>
        <p:spPr bwMode="gray">
          <a:xfrm>
            <a:off x="612631" y="1566280"/>
            <a:ext cx="6336000" cy="0"/>
          </a:xfrm>
          <a:prstGeom prst="line">
            <a:avLst/>
          </a:prstGeom>
          <a:noFill/>
          <a:ln w="12700">
            <a:solidFill>
              <a:srgbClr val="97999B"/>
            </a:solidFill>
            <a:round/>
            <a:headEnd/>
            <a:tailEnd/>
          </a:ln>
        </p:spPr>
      </p:cxnSp>
      <p:sp>
        <p:nvSpPr>
          <p:cNvPr id="18" name="Textplatzhalter 12">
            <a:extLst>
              <a:ext uri="{FF2B5EF4-FFF2-40B4-BE49-F238E27FC236}">
                <a16:creationId xmlns:a16="http://schemas.microsoft.com/office/drawing/2014/main" id="{5EABA8C7-D407-4653-B1C4-E460145CA1D6}"/>
              </a:ext>
            </a:extLst>
          </p:cNvPr>
          <p:cNvSpPr>
            <a:spLocks noGrp="1"/>
          </p:cNvSpPr>
          <p:nvPr>
            <p:ph type="body" sz="quarter" idx="17" hasCustomPrompt="1"/>
          </p:nvPr>
        </p:nvSpPr>
        <p:spPr bwMode="gray">
          <a:xfrm>
            <a:off x="612775" y="1854312"/>
            <a:ext cx="6336208" cy="492443"/>
          </a:xfrm>
        </p:spPr>
        <p:txBody>
          <a:bodyPr wrap="squar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3200" b="0">
                <a:solidFill>
                  <a:schemeClr val="accent2"/>
                </a:solidFill>
                <a:latin typeface="DWS Slab Light" panose="02010404010101010104" pitchFamily="50" charset="0"/>
                <a:cs typeface="DWS Slab Light" panose="02010404010101010104" pitchFamily="50" charset="0"/>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Placeholder Header</a:t>
            </a:r>
          </a:p>
        </p:txBody>
      </p:sp>
      <p:sp>
        <p:nvSpPr>
          <p:cNvPr id="22" name="Textplatzhalter 12">
            <a:extLst>
              <a:ext uri="{FF2B5EF4-FFF2-40B4-BE49-F238E27FC236}">
                <a16:creationId xmlns:a16="http://schemas.microsoft.com/office/drawing/2014/main" id="{8FF72595-6360-45DD-94FA-B02E9D2E6138}"/>
              </a:ext>
            </a:extLst>
          </p:cNvPr>
          <p:cNvSpPr>
            <a:spLocks noGrp="1"/>
          </p:cNvSpPr>
          <p:nvPr>
            <p:ph type="body" sz="quarter" idx="18" hasCustomPrompt="1"/>
          </p:nvPr>
        </p:nvSpPr>
        <p:spPr bwMode="gray">
          <a:xfrm>
            <a:off x="612775" y="1689971"/>
            <a:ext cx="6336208" cy="92333"/>
          </a:xfrm>
        </p:spPr>
        <p:txBody>
          <a:bodyPr wrap="square" anchor="t">
            <a:spAutoFit/>
          </a:bodyPr>
          <a:lstStyle>
            <a:lvl1pPr marL="0" marR="0" indent="0" algn="r" defTabSz="914400" rtl="0" eaLnBrk="1" fontAlgn="base" latinLnBrk="0" hangingPunct="1">
              <a:lnSpc>
                <a:spcPct val="100000"/>
              </a:lnSpc>
              <a:spcBef>
                <a:spcPts val="0"/>
              </a:spcBef>
              <a:spcAft>
                <a:spcPts val="0"/>
              </a:spcAft>
              <a:buClrTx/>
              <a:buSzTx/>
              <a:buFont typeface="Arial" panose="020B0604020202020204" pitchFamily="34" charset="0"/>
              <a:buNone/>
              <a:tabLst/>
              <a:defRPr sz="600" b="0">
                <a:solidFill>
                  <a:schemeClr val="accent3"/>
                </a:solidFill>
              </a:defRPr>
            </a:lvl1pPr>
            <a:lvl2pPr marL="0" indent="0">
              <a:lnSpc>
                <a:spcPct val="100000"/>
              </a:lnSpc>
              <a:spcBef>
                <a:spcPts val="0"/>
              </a:spcBef>
              <a:buFont typeface="Arial" panose="020B0604020202020204" pitchFamily="34" charset="0"/>
              <a:buNone/>
              <a:defRPr sz="600">
                <a:solidFill>
                  <a:schemeClr val="accent3"/>
                </a:solidFill>
              </a:defRPr>
            </a:lvl2pPr>
            <a:lvl3pPr marL="0" indent="0">
              <a:lnSpc>
                <a:spcPct val="100000"/>
              </a:lnSpc>
              <a:spcBef>
                <a:spcPts val="0"/>
              </a:spcBef>
              <a:buFont typeface="Arial" panose="020B0604020202020204" pitchFamily="34" charset="0"/>
              <a:buNone/>
              <a:defRPr sz="600">
                <a:solidFill>
                  <a:schemeClr val="accent3"/>
                </a:solidFill>
              </a:defRPr>
            </a:lvl3pPr>
            <a:lvl4pPr marL="0" indent="0">
              <a:lnSpc>
                <a:spcPct val="100000"/>
              </a:lnSpc>
              <a:spcBef>
                <a:spcPts val="0"/>
              </a:spcBef>
              <a:buNone/>
              <a:defRPr sz="600">
                <a:solidFill>
                  <a:schemeClr val="accent3"/>
                </a:solidFill>
              </a:defRPr>
            </a:lvl4pPr>
            <a:lvl5pPr marL="0" indent="0">
              <a:lnSpc>
                <a:spcPct val="100000"/>
              </a:lnSpc>
              <a:spcBef>
                <a:spcPts val="0"/>
              </a:spcBef>
              <a:buNone/>
              <a:defRPr sz="600">
                <a:solidFill>
                  <a:schemeClr val="accent3"/>
                </a:solidFill>
              </a:defRPr>
            </a:lvl5pPr>
          </a:lstStyle>
          <a:p>
            <a:pPr lvl="0"/>
            <a:r>
              <a:rPr lang="en-US" noProof="0" dirty="0"/>
              <a:t>Placeholder Internal use only</a:t>
            </a:r>
          </a:p>
        </p:txBody>
      </p:sp>
      <p:sp>
        <p:nvSpPr>
          <p:cNvPr id="23" name="Textplatzhalter 12">
            <a:extLst>
              <a:ext uri="{FF2B5EF4-FFF2-40B4-BE49-F238E27FC236}">
                <a16:creationId xmlns:a16="http://schemas.microsoft.com/office/drawing/2014/main" id="{7277914C-02F0-4B59-9F60-F68A80F12E66}"/>
              </a:ext>
            </a:extLst>
          </p:cNvPr>
          <p:cNvSpPr>
            <a:spLocks noGrp="1"/>
          </p:cNvSpPr>
          <p:nvPr>
            <p:ph type="body" sz="quarter" idx="19" hasCustomPrompt="1"/>
          </p:nvPr>
        </p:nvSpPr>
        <p:spPr bwMode="gray">
          <a:xfrm>
            <a:off x="612279" y="726376"/>
            <a:ext cx="634789"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Month 20XX</a:t>
            </a:r>
          </a:p>
        </p:txBody>
      </p:sp>
      <p:sp>
        <p:nvSpPr>
          <p:cNvPr id="26" name="Parallelogramm 25">
            <a:extLst>
              <a:ext uri="{FF2B5EF4-FFF2-40B4-BE49-F238E27FC236}">
                <a16:creationId xmlns:a16="http://schemas.microsoft.com/office/drawing/2014/main" id="{4793A6C0-BE02-4AAC-BB64-2C3B544AA3E2}"/>
              </a:ext>
            </a:extLst>
          </p:cNvPr>
          <p:cNvSpPr/>
          <p:nvPr userDrawn="1"/>
        </p:nvSpPr>
        <p:spPr bwMode="gray">
          <a:xfrm>
            <a:off x="1245393" y="293182"/>
            <a:ext cx="862013" cy="1004888"/>
          </a:xfrm>
          <a:prstGeom prst="parallelogram">
            <a:avLst>
              <a:gd name="adj" fmla="val 98481"/>
            </a:avLst>
          </a:prstGeom>
          <a:solidFill>
            <a:srgbClr val="97999B"/>
          </a:solidFill>
          <a:ln w="6350">
            <a:noFill/>
            <a:miter lim="800000"/>
            <a:headEnd/>
            <a:tailEnd/>
          </a:ln>
        </p:spPr>
        <p:txBody>
          <a:bodyPr lIns="108000" tIns="72000" rIns="108000" bIns="72000" rtlCol="0" anchor="ctr">
            <a:noAutofit/>
          </a:bodyPr>
          <a:lstStyle/>
          <a:p>
            <a:pPr marL="266700" indent="-266700" algn="ctr" defTabSz="963613" eaLnBrk="0" hangingPunct="0">
              <a:spcBef>
                <a:spcPts val="800"/>
              </a:spcBef>
              <a:buClr>
                <a:schemeClr val="tx1"/>
              </a:buClr>
              <a:buFont typeface="Arial" pitchFamily="34" charset="0"/>
              <a:buChar char="—"/>
              <a:tabLst>
                <a:tab pos="1257300" algn="l"/>
              </a:tabLst>
            </a:pPr>
            <a:endParaRPr lang="en-US" sz="1000" dirty="0">
              <a:latin typeface="DWS Sans Light" panose="02010404010101010104" pitchFamily="50" charset="0"/>
              <a:cs typeface="DWS Sans Light" panose="02010404010101010104" pitchFamily="50" charset="0"/>
            </a:endParaRPr>
          </a:p>
        </p:txBody>
      </p:sp>
      <p:sp>
        <p:nvSpPr>
          <p:cNvPr id="30" name="Textplatzhalter 12">
            <a:extLst>
              <a:ext uri="{FF2B5EF4-FFF2-40B4-BE49-F238E27FC236}">
                <a16:creationId xmlns:a16="http://schemas.microsoft.com/office/drawing/2014/main" id="{05856FC8-CE4C-49DA-8819-FDD91233A9C6}"/>
              </a:ext>
            </a:extLst>
          </p:cNvPr>
          <p:cNvSpPr>
            <a:spLocks noGrp="1"/>
          </p:cNvSpPr>
          <p:nvPr>
            <p:ph type="body" sz="quarter" idx="20" hasCustomPrompt="1"/>
          </p:nvPr>
        </p:nvSpPr>
        <p:spPr bwMode="gray">
          <a:xfrm>
            <a:off x="2345519" y="366674"/>
            <a:ext cx="1134926"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Placeholder Contents:</a:t>
            </a:r>
          </a:p>
        </p:txBody>
      </p:sp>
      <p:sp>
        <p:nvSpPr>
          <p:cNvPr id="31" name="Textplatzhalter 12">
            <a:extLst>
              <a:ext uri="{FF2B5EF4-FFF2-40B4-BE49-F238E27FC236}">
                <a16:creationId xmlns:a16="http://schemas.microsoft.com/office/drawing/2014/main" id="{02CB252D-2BD2-468A-9996-BA142368EC8B}"/>
              </a:ext>
            </a:extLst>
          </p:cNvPr>
          <p:cNvSpPr>
            <a:spLocks noGrp="1"/>
          </p:cNvSpPr>
          <p:nvPr>
            <p:ph type="body" sz="quarter" idx="21" hasCustomPrompt="1"/>
          </p:nvPr>
        </p:nvSpPr>
        <p:spPr bwMode="gray">
          <a:xfrm>
            <a:off x="2291314" y="510555"/>
            <a:ext cx="110608"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1</a:t>
            </a:r>
          </a:p>
        </p:txBody>
      </p:sp>
      <p:sp>
        <p:nvSpPr>
          <p:cNvPr id="32" name="Textplatzhalter 12">
            <a:extLst>
              <a:ext uri="{FF2B5EF4-FFF2-40B4-BE49-F238E27FC236}">
                <a16:creationId xmlns:a16="http://schemas.microsoft.com/office/drawing/2014/main" id="{1E3A95D2-7ED9-47AE-9775-EB8F59BA7ACF}"/>
              </a:ext>
            </a:extLst>
          </p:cNvPr>
          <p:cNvSpPr>
            <a:spLocks noGrp="1"/>
          </p:cNvSpPr>
          <p:nvPr>
            <p:ph type="body" sz="quarter" idx="22" hasCustomPrompt="1"/>
          </p:nvPr>
        </p:nvSpPr>
        <p:spPr bwMode="gray">
          <a:xfrm>
            <a:off x="2174630" y="654436"/>
            <a:ext cx="128588" cy="138499"/>
          </a:xfrm>
        </p:spPr>
        <p:txBody>
          <a:bodyPr wrap="none" anchor="ctr">
            <a:no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2</a:t>
            </a:r>
          </a:p>
        </p:txBody>
      </p:sp>
      <p:sp>
        <p:nvSpPr>
          <p:cNvPr id="33" name="Textplatzhalter 12">
            <a:extLst>
              <a:ext uri="{FF2B5EF4-FFF2-40B4-BE49-F238E27FC236}">
                <a16:creationId xmlns:a16="http://schemas.microsoft.com/office/drawing/2014/main" id="{9E0DCCC2-18D1-4500-B536-6A1B653E76C2}"/>
              </a:ext>
            </a:extLst>
          </p:cNvPr>
          <p:cNvSpPr>
            <a:spLocks noGrp="1"/>
          </p:cNvSpPr>
          <p:nvPr>
            <p:ph type="body" sz="quarter" idx="23" hasCustomPrompt="1"/>
          </p:nvPr>
        </p:nvSpPr>
        <p:spPr bwMode="gray">
          <a:xfrm>
            <a:off x="2058295" y="798317"/>
            <a:ext cx="131446"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3</a:t>
            </a:r>
          </a:p>
        </p:txBody>
      </p:sp>
      <p:sp>
        <p:nvSpPr>
          <p:cNvPr id="34" name="Textplatzhalter 12">
            <a:extLst>
              <a:ext uri="{FF2B5EF4-FFF2-40B4-BE49-F238E27FC236}">
                <a16:creationId xmlns:a16="http://schemas.microsoft.com/office/drawing/2014/main" id="{070B562A-D92A-4BA8-8307-62CB2C3BF291}"/>
              </a:ext>
            </a:extLst>
          </p:cNvPr>
          <p:cNvSpPr>
            <a:spLocks noGrp="1"/>
          </p:cNvSpPr>
          <p:nvPr>
            <p:ph type="body" sz="quarter" idx="24" hasCustomPrompt="1"/>
          </p:nvPr>
        </p:nvSpPr>
        <p:spPr bwMode="gray">
          <a:xfrm>
            <a:off x="1941960" y="942198"/>
            <a:ext cx="134652"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4</a:t>
            </a:r>
          </a:p>
        </p:txBody>
      </p:sp>
      <p:sp>
        <p:nvSpPr>
          <p:cNvPr id="35" name="Textplatzhalter 12">
            <a:extLst>
              <a:ext uri="{FF2B5EF4-FFF2-40B4-BE49-F238E27FC236}">
                <a16:creationId xmlns:a16="http://schemas.microsoft.com/office/drawing/2014/main" id="{EB74D7FD-D93F-4F5C-8DFF-06F820B4FB9D}"/>
              </a:ext>
            </a:extLst>
          </p:cNvPr>
          <p:cNvSpPr>
            <a:spLocks noGrp="1"/>
          </p:cNvSpPr>
          <p:nvPr>
            <p:ph type="body" sz="quarter" idx="25" hasCustomPrompt="1"/>
          </p:nvPr>
        </p:nvSpPr>
        <p:spPr bwMode="gray">
          <a:xfrm>
            <a:off x="1825625" y="1086079"/>
            <a:ext cx="131446"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5</a:t>
            </a:r>
          </a:p>
        </p:txBody>
      </p:sp>
      <p:sp>
        <p:nvSpPr>
          <p:cNvPr id="36" name="Textplatzhalter 12">
            <a:extLst>
              <a:ext uri="{FF2B5EF4-FFF2-40B4-BE49-F238E27FC236}">
                <a16:creationId xmlns:a16="http://schemas.microsoft.com/office/drawing/2014/main" id="{EC0EF89B-1985-43EE-B7DB-20319778334F}"/>
              </a:ext>
            </a:extLst>
          </p:cNvPr>
          <p:cNvSpPr>
            <a:spLocks noGrp="1"/>
          </p:cNvSpPr>
          <p:nvPr>
            <p:ph type="body" sz="quarter" idx="26" hasCustomPrompt="1"/>
          </p:nvPr>
        </p:nvSpPr>
        <p:spPr bwMode="gray">
          <a:xfrm>
            <a:off x="2476564" y="510555"/>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37" name="Textplatzhalter 12">
            <a:extLst>
              <a:ext uri="{FF2B5EF4-FFF2-40B4-BE49-F238E27FC236}">
                <a16:creationId xmlns:a16="http://schemas.microsoft.com/office/drawing/2014/main" id="{86262E24-4DCD-46BC-9291-F22D3FA1E8DA}"/>
              </a:ext>
            </a:extLst>
          </p:cNvPr>
          <p:cNvSpPr>
            <a:spLocks noGrp="1"/>
          </p:cNvSpPr>
          <p:nvPr>
            <p:ph type="body" sz="quarter" idx="27" hasCustomPrompt="1"/>
          </p:nvPr>
        </p:nvSpPr>
        <p:spPr bwMode="gray">
          <a:xfrm>
            <a:off x="2359880" y="654436"/>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38" name="Textplatzhalter 12">
            <a:extLst>
              <a:ext uri="{FF2B5EF4-FFF2-40B4-BE49-F238E27FC236}">
                <a16:creationId xmlns:a16="http://schemas.microsoft.com/office/drawing/2014/main" id="{9469E5F3-CE59-40D1-A516-216329B3A1AF}"/>
              </a:ext>
            </a:extLst>
          </p:cNvPr>
          <p:cNvSpPr>
            <a:spLocks noGrp="1"/>
          </p:cNvSpPr>
          <p:nvPr>
            <p:ph type="body" sz="quarter" idx="28" hasCustomPrompt="1"/>
          </p:nvPr>
        </p:nvSpPr>
        <p:spPr bwMode="gray">
          <a:xfrm>
            <a:off x="2243545" y="798317"/>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39" name="Textplatzhalter 12">
            <a:extLst>
              <a:ext uri="{FF2B5EF4-FFF2-40B4-BE49-F238E27FC236}">
                <a16:creationId xmlns:a16="http://schemas.microsoft.com/office/drawing/2014/main" id="{BDCFA413-6E54-4AAE-8F29-B67DFA6E06E4}"/>
              </a:ext>
            </a:extLst>
          </p:cNvPr>
          <p:cNvSpPr>
            <a:spLocks noGrp="1"/>
          </p:cNvSpPr>
          <p:nvPr>
            <p:ph type="body" sz="quarter" idx="29" hasCustomPrompt="1"/>
          </p:nvPr>
        </p:nvSpPr>
        <p:spPr bwMode="gray">
          <a:xfrm>
            <a:off x="2127210" y="942198"/>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40" name="Textplatzhalter 12">
            <a:extLst>
              <a:ext uri="{FF2B5EF4-FFF2-40B4-BE49-F238E27FC236}">
                <a16:creationId xmlns:a16="http://schemas.microsoft.com/office/drawing/2014/main" id="{794D9C5B-6933-4E7A-A0C1-314BB74373AB}"/>
              </a:ext>
            </a:extLst>
          </p:cNvPr>
          <p:cNvSpPr>
            <a:spLocks noGrp="1"/>
          </p:cNvSpPr>
          <p:nvPr>
            <p:ph type="body" sz="quarter" idx="30" hasCustomPrompt="1"/>
          </p:nvPr>
        </p:nvSpPr>
        <p:spPr bwMode="gray">
          <a:xfrm>
            <a:off x="2010875" y="1086079"/>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5" name="Textplatzhalter 4"/>
          <p:cNvSpPr>
            <a:spLocks noGrp="1"/>
          </p:cNvSpPr>
          <p:nvPr>
            <p:ph type="body" sz="quarter" idx="32"/>
          </p:nvPr>
        </p:nvSpPr>
        <p:spPr>
          <a:xfrm>
            <a:off x="1728787" y="5842887"/>
            <a:ext cx="5220000" cy="171132"/>
          </a:xfrm>
        </p:spPr>
        <p:txBody>
          <a:bodyPr/>
          <a:lstStyle>
            <a:lvl1pPr>
              <a:defRPr b="0">
                <a:latin typeface="DWS Sans Light" panose="02010404010101010104" pitchFamily="50" charset="0"/>
                <a:cs typeface="DWS Sans Light" panose="02010404010101010104" pitchFamily="50" charset="0"/>
              </a:defRPr>
            </a:lvl1pPr>
          </a:lstStyle>
          <a:p>
            <a:pPr lvl="0"/>
            <a:r>
              <a:rPr lang="de-DE" dirty="0"/>
              <a:t>Textmasterformat bearbeiten</a:t>
            </a:r>
          </a:p>
        </p:txBody>
      </p:sp>
      <p:sp>
        <p:nvSpPr>
          <p:cNvPr id="10" name="Textplatzhalter 9"/>
          <p:cNvSpPr>
            <a:spLocks noGrp="1"/>
          </p:cNvSpPr>
          <p:nvPr>
            <p:ph type="body" sz="quarter" idx="33" hasCustomPrompt="1"/>
          </p:nvPr>
        </p:nvSpPr>
        <p:spPr>
          <a:xfrm>
            <a:off x="1728787" y="6081964"/>
            <a:ext cx="5220000" cy="412115"/>
          </a:xfrm>
        </p:spPr>
        <p:txBody>
          <a:bodyPr>
            <a:normAutofit/>
          </a:bodyPr>
          <a:lstStyle>
            <a:lvl2pPr marL="126000" marR="0" indent="-126000" algn="l" defTabSz="914400" rtl="0" eaLnBrk="1" fontAlgn="base" latinLnBrk="0" hangingPunct="1">
              <a:lnSpc>
                <a:spcPct val="100000"/>
              </a:lnSpc>
              <a:spcBef>
                <a:spcPts val="600"/>
              </a:spcBef>
              <a:spcAft>
                <a:spcPts val="0"/>
              </a:spcAft>
              <a:buClrTx/>
              <a:buSzTx/>
              <a:buFont typeface="Arial" panose="020B0604020202020204" pitchFamily="34" charset="0"/>
              <a:buChar char="_"/>
              <a:tabLst/>
              <a:defRPr sz="900">
                <a:latin typeface="DWS Sans Light" panose="02010404010101010104" pitchFamily="50" charset="0"/>
                <a:cs typeface="DWS Sans Light" panose="02010404010101010104" pitchFamily="50" charset="0"/>
              </a:defRPr>
            </a:lvl2pPr>
          </a:lstStyle>
          <a:p>
            <a:pPr lvl="1"/>
            <a:r>
              <a:rPr lang="de-DE" dirty="0"/>
              <a:t>Zweite Ebene</a:t>
            </a:r>
          </a:p>
          <a:p>
            <a:pPr lvl="1"/>
            <a:r>
              <a:rPr lang="de-DE" dirty="0"/>
              <a:t>Zweite Ebene</a:t>
            </a:r>
          </a:p>
          <a:p>
            <a:pPr lvl="1"/>
            <a:endParaRPr lang="de-DE" dirty="0"/>
          </a:p>
        </p:txBody>
      </p:sp>
      <p:sp>
        <p:nvSpPr>
          <p:cNvPr id="42" name="Textplatzhalter 4"/>
          <p:cNvSpPr>
            <a:spLocks noGrp="1"/>
          </p:cNvSpPr>
          <p:nvPr>
            <p:ph type="body" sz="quarter" idx="34"/>
          </p:nvPr>
        </p:nvSpPr>
        <p:spPr>
          <a:xfrm>
            <a:off x="1728787" y="7434116"/>
            <a:ext cx="5220000" cy="171132"/>
          </a:xfrm>
        </p:spPr>
        <p:txBody>
          <a:bodyPr/>
          <a:lstStyle>
            <a:lvl1pPr>
              <a:defRPr b="0">
                <a:latin typeface="DWS Sans Light" panose="02010404010101010104" pitchFamily="50" charset="0"/>
                <a:cs typeface="DWS Sans Light" panose="02010404010101010104" pitchFamily="50" charset="0"/>
              </a:defRPr>
            </a:lvl1pPr>
          </a:lstStyle>
          <a:p>
            <a:pPr lvl="0"/>
            <a:r>
              <a:rPr lang="de-DE" dirty="0"/>
              <a:t>Textmasterformat bearbeiten</a:t>
            </a:r>
          </a:p>
        </p:txBody>
      </p:sp>
      <p:sp>
        <p:nvSpPr>
          <p:cNvPr id="43" name="Textplatzhalter 9"/>
          <p:cNvSpPr>
            <a:spLocks noGrp="1"/>
          </p:cNvSpPr>
          <p:nvPr>
            <p:ph type="body" sz="quarter" idx="35" hasCustomPrompt="1"/>
          </p:nvPr>
        </p:nvSpPr>
        <p:spPr>
          <a:xfrm>
            <a:off x="1728787" y="7673193"/>
            <a:ext cx="5220000" cy="412115"/>
          </a:xfrm>
        </p:spPr>
        <p:txBody>
          <a:bodyPr>
            <a:normAutofit/>
          </a:bodyPr>
          <a:lstStyle>
            <a:lvl2pPr marL="126000" marR="0" indent="-126000" algn="l" defTabSz="914400" rtl="0" eaLnBrk="1" fontAlgn="base" latinLnBrk="0" hangingPunct="1">
              <a:lnSpc>
                <a:spcPct val="100000"/>
              </a:lnSpc>
              <a:spcBef>
                <a:spcPts val="600"/>
              </a:spcBef>
              <a:spcAft>
                <a:spcPts val="0"/>
              </a:spcAft>
              <a:buClrTx/>
              <a:buSzTx/>
              <a:buFont typeface="Arial" panose="020B0604020202020204" pitchFamily="34" charset="0"/>
              <a:buChar char="_"/>
              <a:tabLst/>
              <a:defRPr sz="900">
                <a:latin typeface="DWS Sans Light" panose="02010404010101010104" pitchFamily="50" charset="0"/>
                <a:cs typeface="DWS Sans Light" panose="02010404010101010104" pitchFamily="50" charset="0"/>
              </a:defRPr>
            </a:lvl2pPr>
          </a:lstStyle>
          <a:p>
            <a:pPr lvl="1"/>
            <a:r>
              <a:rPr lang="de-DE" dirty="0"/>
              <a:t>Zweite Ebene</a:t>
            </a:r>
          </a:p>
          <a:p>
            <a:pPr lvl="1"/>
            <a:r>
              <a:rPr lang="de-DE" dirty="0"/>
              <a:t>Zweite Ebene</a:t>
            </a:r>
          </a:p>
          <a:p>
            <a:pPr lvl="1"/>
            <a:endParaRPr lang="de-DE" dirty="0"/>
          </a:p>
        </p:txBody>
      </p:sp>
      <p:sp>
        <p:nvSpPr>
          <p:cNvPr id="46" name="Textplatzhalter 4"/>
          <p:cNvSpPr>
            <a:spLocks noGrp="1"/>
          </p:cNvSpPr>
          <p:nvPr>
            <p:ph type="body" sz="quarter" idx="38"/>
          </p:nvPr>
        </p:nvSpPr>
        <p:spPr>
          <a:xfrm>
            <a:off x="1728787" y="9177745"/>
            <a:ext cx="5220000" cy="171132"/>
          </a:xfrm>
        </p:spPr>
        <p:txBody>
          <a:bodyPr/>
          <a:lstStyle>
            <a:lvl1pPr>
              <a:defRPr b="0">
                <a:latin typeface="DWS Sans Light" panose="02010404010101010104" pitchFamily="50" charset="0"/>
                <a:cs typeface="DWS Sans Light" panose="02010404010101010104" pitchFamily="50" charset="0"/>
              </a:defRPr>
            </a:lvl1pPr>
          </a:lstStyle>
          <a:p>
            <a:pPr lvl="0"/>
            <a:r>
              <a:rPr lang="de-DE" dirty="0"/>
              <a:t>Textmasterformat bearbeiten</a:t>
            </a:r>
          </a:p>
        </p:txBody>
      </p:sp>
      <p:sp>
        <p:nvSpPr>
          <p:cNvPr id="47" name="Textplatzhalter 9"/>
          <p:cNvSpPr>
            <a:spLocks noGrp="1"/>
          </p:cNvSpPr>
          <p:nvPr>
            <p:ph type="body" sz="quarter" idx="39" hasCustomPrompt="1"/>
          </p:nvPr>
        </p:nvSpPr>
        <p:spPr>
          <a:xfrm>
            <a:off x="1728787" y="9416822"/>
            <a:ext cx="5220000" cy="412115"/>
          </a:xfrm>
        </p:spPr>
        <p:txBody>
          <a:bodyPr>
            <a:normAutofit/>
          </a:bodyPr>
          <a:lstStyle>
            <a:lvl2pPr marL="126000" marR="0" indent="-126000" algn="l" defTabSz="914400" rtl="0" eaLnBrk="1" fontAlgn="base" latinLnBrk="0" hangingPunct="1">
              <a:lnSpc>
                <a:spcPct val="100000"/>
              </a:lnSpc>
              <a:spcBef>
                <a:spcPts val="600"/>
              </a:spcBef>
              <a:spcAft>
                <a:spcPts val="0"/>
              </a:spcAft>
              <a:buClrTx/>
              <a:buSzTx/>
              <a:buFont typeface="Arial" panose="020B0604020202020204" pitchFamily="34" charset="0"/>
              <a:buChar char="_"/>
              <a:tabLst/>
              <a:defRPr sz="900">
                <a:latin typeface="DWS Sans Light" panose="02010404010101010104" pitchFamily="50" charset="0"/>
                <a:cs typeface="DWS Sans Light" panose="02010404010101010104" pitchFamily="50" charset="0"/>
              </a:defRPr>
            </a:lvl2pPr>
          </a:lstStyle>
          <a:p>
            <a:pPr lvl="1"/>
            <a:r>
              <a:rPr lang="de-DE" dirty="0"/>
              <a:t>Zweite Ebene</a:t>
            </a:r>
          </a:p>
          <a:p>
            <a:pPr lvl="1"/>
            <a:r>
              <a:rPr lang="de-DE" dirty="0"/>
              <a:t>Zweite Ebene</a:t>
            </a:r>
          </a:p>
          <a:p>
            <a:pPr lvl="1"/>
            <a:endParaRPr lang="de-DE" dirty="0"/>
          </a:p>
        </p:txBody>
      </p:sp>
      <p:sp>
        <p:nvSpPr>
          <p:cNvPr id="7" name="Textplatzhalter 6"/>
          <p:cNvSpPr>
            <a:spLocks noGrp="1"/>
          </p:cNvSpPr>
          <p:nvPr>
            <p:ph type="body" sz="quarter" idx="40"/>
          </p:nvPr>
        </p:nvSpPr>
        <p:spPr>
          <a:xfrm>
            <a:off x="612775" y="10233025"/>
            <a:ext cx="6335713" cy="153988"/>
          </a:xfrm>
        </p:spPr>
        <p:txBody>
          <a:bodyPr>
            <a:noAutofit/>
          </a:bodyPr>
          <a:lstStyle>
            <a:lvl1pPr>
              <a:defRPr sz="700" b="0">
                <a:solidFill>
                  <a:schemeClr val="accent3"/>
                </a:solidFill>
                <a:latin typeface="DWS Sans Light" panose="02010404010101010104" pitchFamily="50" charset="0"/>
                <a:cs typeface="DWS Sans Light" panose="02010404010101010104" pitchFamily="50" charset="0"/>
              </a:defRPr>
            </a:lvl1pPr>
            <a:lvl2pPr>
              <a:defRPr sz="700" b="0">
                <a:solidFill>
                  <a:schemeClr val="accent3"/>
                </a:solidFill>
                <a:latin typeface="DWS Sans Light" panose="02010404010101010104" pitchFamily="50" charset="0"/>
                <a:cs typeface="DWS Sans Light" panose="02010404010101010104" pitchFamily="50" charset="0"/>
              </a:defRPr>
            </a:lvl2pPr>
            <a:lvl3pPr>
              <a:defRPr sz="700" b="0">
                <a:solidFill>
                  <a:schemeClr val="accent3"/>
                </a:solidFill>
                <a:latin typeface="DWS Sans Light" panose="02010404010101010104" pitchFamily="50" charset="0"/>
                <a:cs typeface="DWS Sans Light" panose="02010404010101010104" pitchFamily="50" charset="0"/>
              </a:defRPr>
            </a:lvl3pPr>
            <a:lvl4pPr>
              <a:defRPr sz="700" b="0">
                <a:solidFill>
                  <a:schemeClr val="accent3"/>
                </a:solidFill>
                <a:latin typeface="DWS Sans Light" panose="02010404010101010104" pitchFamily="50" charset="0"/>
                <a:cs typeface="DWS Sans Light" panose="02010404010101010104" pitchFamily="50" charset="0"/>
              </a:defRPr>
            </a:lvl4pPr>
            <a:lvl5pPr>
              <a:defRPr sz="700" b="0">
                <a:solidFill>
                  <a:schemeClr val="accent3"/>
                </a:solidFill>
                <a:latin typeface="DWS Sans Light" panose="02010404010101010104" pitchFamily="50" charset="0"/>
                <a:cs typeface="DWS Sans Light" panose="02010404010101010104" pitchFamily="50" charset="0"/>
              </a:defRPr>
            </a:lvl5pPr>
          </a:lstStyle>
          <a:p>
            <a:pPr lvl="0"/>
            <a:r>
              <a:rPr lang="de-DE" dirty="0"/>
              <a:t>Textmasterformat bearbeiten</a:t>
            </a:r>
          </a:p>
        </p:txBody>
      </p:sp>
      <p:sp>
        <p:nvSpPr>
          <p:cNvPr id="48" name="Textfeld 47"/>
          <p:cNvSpPr txBox="1"/>
          <p:nvPr userDrawn="1"/>
        </p:nvSpPr>
        <p:spPr bwMode="ltGray">
          <a:xfrm>
            <a:off x="615181" y="5496869"/>
            <a:ext cx="6234592" cy="228396"/>
          </a:xfrm>
          <a:prstGeom prst="rect">
            <a:avLst/>
          </a:prstGeom>
          <a:noFill/>
          <a:ln w="6350">
            <a:noFill/>
            <a:miter lim="800000"/>
            <a:headEnd/>
            <a:tailEnd/>
          </a:ln>
        </p:spPr>
        <p:txBody>
          <a:bodyPr wrap="square" lIns="0" tIns="0" rIns="0" bIns="0" rtlCol="0" anchor="t" anchorCtr="0">
            <a:spAutoFit/>
          </a:bodyPr>
          <a:lstStyle/>
          <a:p>
            <a:pPr eaLnBrk="0" hangingPunct="0">
              <a:lnSpc>
                <a:spcPct val="106000"/>
              </a:lnSpc>
              <a:spcBef>
                <a:spcPts val="200"/>
              </a:spcBef>
            </a:pPr>
            <a:r>
              <a:rPr lang="de-DE" sz="1400" baseline="0" dirty="0">
                <a:solidFill>
                  <a:schemeClr val="bg2"/>
                </a:solidFill>
                <a:latin typeface="DWS Sans Light" panose="02010404010101010104" pitchFamily="50" charset="0"/>
                <a:cs typeface="DWS Sans Light" panose="02010404010101010104" pitchFamily="50" charset="0"/>
              </a:rPr>
              <a:t>Die 3 Top-Trends, die die Kapitalmärkte in der nächsten Zeit prägen werden </a:t>
            </a:r>
            <a:endParaRPr lang="de-DE" sz="1400" dirty="0">
              <a:solidFill>
                <a:schemeClr val="bg2"/>
              </a:solidFill>
              <a:latin typeface="DWS Sans Light" panose="02010404010101010104" pitchFamily="50" charset="0"/>
              <a:cs typeface="DWS Sans Light" panose="02010404010101010104" pitchFamily="50" charset="0"/>
            </a:endParaRPr>
          </a:p>
        </p:txBody>
      </p:sp>
    </p:spTree>
    <p:extLst>
      <p:ext uri="{BB962C8B-B14F-4D97-AF65-F5344CB8AC3E}">
        <p14:creationId xmlns:p14="http://schemas.microsoft.com/office/powerpoint/2010/main" val="2504672160"/>
      </p:ext>
    </p:extLst>
  </p:cSld>
  <p:clrMapOvr>
    <a:masterClrMapping/>
  </p:clrMapOvr>
  <p:extLst>
    <p:ext uri="{DCECCB84-F9BA-43D5-87BE-67443E8EF086}">
      <p15:sldGuideLst xmlns:p15="http://schemas.microsoft.com/office/powerpoint/2012/main">
        <p15:guide id="1" orient="horz" pos="3073" userDrawn="1">
          <p15:clr>
            <a:srgbClr val="FBAE40"/>
          </p15:clr>
        </p15:guide>
        <p15:guide id="2" orient="horz" pos="6543" userDrawn="1">
          <p15:clr>
            <a:srgbClr val="FBAE40"/>
          </p15:clr>
        </p15:guide>
        <p15:guide id="3" pos="2427">
          <p15:clr>
            <a:srgbClr val="FBAE40"/>
          </p15:clr>
        </p15:guide>
        <p15:guide id="4" pos="108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Markt &amp; Makro II">
    <p:spTree>
      <p:nvGrpSpPr>
        <p:cNvPr id="1" name=""/>
        <p:cNvGrpSpPr/>
        <p:nvPr/>
      </p:nvGrpSpPr>
      <p:grpSpPr>
        <a:xfrm>
          <a:off x="0" y="0"/>
          <a:ext cx="0" cy="0"/>
          <a:chOff x="0" y="0"/>
          <a:chExt cx="0" cy="0"/>
        </a:xfrm>
      </p:grpSpPr>
      <p:graphicFrame>
        <p:nvGraphicFramePr>
          <p:cNvPr id="20" name="Objekt 19" hidden="1">
            <a:extLst>
              <a:ext uri="{FF2B5EF4-FFF2-40B4-BE49-F238E27FC236}">
                <a16:creationId xmlns:a16="http://schemas.microsoft.com/office/drawing/2014/main" id="{6891F096-6043-4BF9-8371-D1A126016511}"/>
              </a:ext>
            </a:extLst>
          </p:cNvPr>
          <p:cNvGraphicFramePr>
            <a:graphicFrameLocks noChangeAspect="1"/>
          </p:cNvGraphicFramePr>
          <p:nvPr userDrawn="1">
            <p:custDataLst>
              <p:tags r:id="rId1"/>
            </p:custDataLst>
            <p:extLst>
              <p:ext uri="{D42A27DB-BD31-4B8C-83A1-F6EECF244321}">
                <p14:modId xmlns:p14="http://schemas.microsoft.com/office/powerpoint/2010/main" val="4064144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0" name="Objekt 19" hidden="1">
                        <a:extLst>
                          <a:ext uri="{FF2B5EF4-FFF2-40B4-BE49-F238E27FC236}">
                            <a16:creationId xmlns:a16="http://schemas.microsoft.com/office/drawing/2014/main" id="{6891F096-6043-4BF9-8371-D1A1260165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hteck 18" hidden="1">
            <a:extLst>
              <a:ext uri="{FF2B5EF4-FFF2-40B4-BE49-F238E27FC236}">
                <a16:creationId xmlns:a16="http://schemas.microsoft.com/office/drawing/2014/main" id="{6DEFFC93-5A73-4669-9294-867CE1AD2CF7}"/>
              </a:ext>
            </a:extLst>
          </p:cNvPr>
          <p:cNvSpPr/>
          <p:nvPr userDrawn="1">
            <p:custDataLst>
              <p:tags r:id="rId2"/>
            </p:custDataLst>
          </p:nvPr>
        </p:nvSpPr>
        <p:spPr bwMode="auto">
          <a:xfrm>
            <a:off x="0" y="0"/>
            <a:ext cx="158750" cy="158750"/>
          </a:xfrm>
          <a:prstGeom prst="rect">
            <a:avLst/>
          </a:prstGeom>
          <a:solidFill>
            <a:srgbClr val="E6EAEE"/>
          </a:solidFill>
          <a:ln w="6350">
            <a:solidFill>
              <a:srgbClr val="E6EAEE"/>
            </a:solidFill>
            <a:miter lim="800000"/>
            <a:headEnd/>
            <a:tailEnd/>
          </a:ln>
        </p:spPr>
        <p:txBody>
          <a:bodyPr vert="horz" wrap="none" lIns="0" tIns="0" rIns="0" bIns="0" numCol="1" spcCol="0" rtlCol="0" anchor="ctr" anchorCtr="0">
            <a:noAutofit/>
          </a:bodyPr>
          <a:lstStyle/>
          <a:p>
            <a:pPr marL="0" lvl="0" indent="0" algn="ctr" defTabSz="963613" eaLnBrk="0" hangingPunct="0">
              <a:spcBef>
                <a:spcPts val="800"/>
              </a:spcBef>
              <a:buClr>
                <a:schemeClr val="tx1"/>
              </a:buClr>
              <a:buFontTx/>
              <a:buNone/>
              <a:tabLst>
                <a:tab pos="1257300" algn="l"/>
              </a:tabLst>
            </a:pPr>
            <a:endParaRPr lang="en-US" sz="1600" b="0" i="0" baseline="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el 1">
            <a:extLst>
              <a:ext uri="{FF2B5EF4-FFF2-40B4-BE49-F238E27FC236}">
                <a16:creationId xmlns:a16="http://schemas.microsoft.com/office/drawing/2014/main" id="{AB4C2818-3ED9-40FD-A530-B3A8B386744C}"/>
              </a:ext>
            </a:extLst>
          </p:cNvPr>
          <p:cNvSpPr>
            <a:spLocks noGrp="1"/>
          </p:cNvSpPr>
          <p:nvPr>
            <p:ph type="title" hasCustomPrompt="1"/>
          </p:nvPr>
        </p:nvSpPr>
        <p:spPr bwMode="gray">
          <a:xfrm>
            <a:off x="612775" y="2779673"/>
            <a:ext cx="6335713" cy="233910"/>
          </a:xfrm>
        </p:spPr>
        <p:txBody>
          <a:bodyPr/>
          <a:lstStyle>
            <a:lvl1pPr>
              <a:defRPr sz="1600" b="0">
                <a:solidFill>
                  <a:schemeClr val="bg2"/>
                </a:solidFill>
                <a:latin typeface="DWS Sans Light" panose="02010404010101010104" pitchFamily="50" charset="0"/>
                <a:cs typeface="DWS Sans Light" panose="02010404010101010104" pitchFamily="50" charset="0"/>
              </a:defRPr>
            </a:lvl1pPr>
          </a:lstStyle>
          <a:p>
            <a:r>
              <a:rPr lang="en-US" dirty="0"/>
              <a:t>Placeholder title</a:t>
            </a:r>
            <a:endParaRPr lang="de-DE" dirty="0"/>
          </a:p>
        </p:txBody>
      </p:sp>
      <p:sp>
        <p:nvSpPr>
          <p:cNvPr id="25" name="Textplatzhalter 12">
            <a:extLst>
              <a:ext uri="{FF2B5EF4-FFF2-40B4-BE49-F238E27FC236}">
                <a16:creationId xmlns:a16="http://schemas.microsoft.com/office/drawing/2014/main" id="{CDA5A2BA-F61B-41BF-B79F-B5BB15BD5D3E}"/>
              </a:ext>
            </a:extLst>
          </p:cNvPr>
          <p:cNvSpPr>
            <a:spLocks noGrp="1"/>
          </p:cNvSpPr>
          <p:nvPr>
            <p:ph type="body" sz="quarter" idx="15" hasCustomPrompt="1"/>
          </p:nvPr>
        </p:nvSpPr>
        <p:spPr bwMode="gray">
          <a:xfrm>
            <a:off x="612278" y="2502384"/>
            <a:ext cx="173124" cy="169277"/>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1100" b="0">
                <a:solidFill>
                  <a:schemeClr val="accent2"/>
                </a:solidFill>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X</a:t>
            </a:r>
          </a:p>
        </p:txBody>
      </p:sp>
      <p:sp>
        <p:nvSpPr>
          <p:cNvPr id="29" name="Textplatzhalter 12">
            <a:extLst>
              <a:ext uri="{FF2B5EF4-FFF2-40B4-BE49-F238E27FC236}">
                <a16:creationId xmlns:a16="http://schemas.microsoft.com/office/drawing/2014/main" id="{EEF72869-3591-49DF-B605-493E2787BF59}"/>
              </a:ext>
            </a:extLst>
          </p:cNvPr>
          <p:cNvSpPr>
            <a:spLocks noGrp="1"/>
          </p:cNvSpPr>
          <p:nvPr>
            <p:ph type="body" sz="quarter" idx="16" hasCustomPrompt="1"/>
          </p:nvPr>
        </p:nvSpPr>
        <p:spPr bwMode="gray">
          <a:xfrm>
            <a:off x="828303" y="2502384"/>
            <a:ext cx="6120680" cy="169277"/>
          </a:xfrm>
        </p:spPr>
        <p:txBody>
          <a:bodyPr wrap="squar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1100" b="0">
                <a:solidFill>
                  <a:schemeClr val="accent3"/>
                </a:solidFill>
                <a:latin typeface="DWS Slab Light" panose="02010404010101010104" pitchFamily="50" charset="0"/>
                <a:cs typeface="DWS Slab Light" panose="02010404010101010104" pitchFamily="50" charset="0"/>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Placeholder Chapter</a:t>
            </a:r>
          </a:p>
        </p:txBody>
      </p:sp>
      <p:pic>
        <p:nvPicPr>
          <p:cNvPr id="15" name="Grafik 14">
            <a:extLst>
              <a:ext uri="{FF2B5EF4-FFF2-40B4-BE49-F238E27FC236}">
                <a16:creationId xmlns:a16="http://schemas.microsoft.com/office/drawing/2014/main" id="{09D1D295-5291-4D0F-8A41-61B89D43BA7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gray">
          <a:xfrm>
            <a:off x="5222886" y="296648"/>
            <a:ext cx="2009763" cy="1005212"/>
          </a:xfrm>
          <a:prstGeom prst="rect">
            <a:avLst/>
          </a:prstGeom>
        </p:spPr>
      </p:pic>
      <p:sp>
        <p:nvSpPr>
          <p:cNvPr id="13" name="Textplatzhalter 12">
            <a:extLst>
              <a:ext uri="{FF2B5EF4-FFF2-40B4-BE49-F238E27FC236}">
                <a16:creationId xmlns:a16="http://schemas.microsoft.com/office/drawing/2014/main" id="{14E52239-0B41-4EF5-8B95-1BFC25885969}"/>
              </a:ext>
            </a:extLst>
          </p:cNvPr>
          <p:cNvSpPr>
            <a:spLocks noGrp="1"/>
          </p:cNvSpPr>
          <p:nvPr>
            <p:ph type="body" sz="quarter" idx="12" hasCustomPrompt="1"/>
          </p:nvPr>
        </p:nvSpPr>
        <p:spPr bwMode="gray">
          <a:xfrm>
            <a:off x="612278" y="3208174"/>
            <a:ext cx="3096121" cy="836768"/>
          </a:xfrm>
        </p:spPr>
        <p:txBody>
          <a:bodyPr wrap="square">
            <a:spAutoFit/>
          </a:bodyPr>
          <a:lstStyle>
            <a:lvl1pPr>
              <a:defRPr sz="1000">
                <a:solidFill>
                  <a:schemeClr val="accent2"/>
                </a:solidFill>
              </a:defRPr>
            </a:lvl1pPr>
            <a:lvl2pPr marL="0" marR="0" indent="0" algn="l" defTabSz="914400" rtl="0" eaLnBrk="1" fontAlgn="base" latinLnBrk="0" hangingPunct="1">
              <a:lnSpc>
                <a:spcPct val="106000"/>
              </a:lnSpc>
              <a:spcBef>
                <a:spcPts val="200"/>
              </a:spcBef>
              <a:spcAft>
                <a:spcPts val="0"/>
              </a:spcAft>
              <a:buClrTx/>
              <a:buSzTx/>
              <a:buFont typeface="DWS Sans Light" panose="02010404010101010104" pitchFamily="50" charset="0"/>
              <a:buNone/>
              <a:tabLst/>
              <a:defRPr sz="900">
                <a:solidFill>
                  <a:schemeClr val="bg2"/>
                </a:solidFill>
                <a:latin typeface="DWS Sans Light" panose="02010404010101010104" pitchFamily="50" charset="0"/>
                <a:cs typeface="DWS Sans Light" panose="02010404010101010104" pitchFamily="50" charset="0"/>
              </a:defRPr>
            </a:lvl2pPr>
            <a:lvl3pPr>
              <a:defRPr sz="1000"/>
            </a:lvl3pPr>
            <a:lvl4pPr>
              <a:defRPr sz="1000"/>
            </a:lvl4pPr>
            <a:lvl5pPr marL="0" indent="0">
              <a:buNone/>
              <a:defRPr sz="1200">
                <a:solidFill>
                  <a:schemeClr val="accent3"/>
                </a:solidFill>
              </a:defRPr>
            </a:lvl5pPr>
          </a:lstStyle>
          <a:p>
            <a:pPr lvl="1"/>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p:txBody>
      </p:sp>
      <p:sp>
        <p:nvSpPr>
          <p:cNvPr id="14" name="Textplatzhalter 12">
            <a:extLst>
              <a:ext uri="{FF2B5EF4-FFF2-40B4-BE49-F238E27FC236}">
                <a16:creationId xmlns:a16="http://schemas.microsoft.com/office/drawing/2014/main" id="{BB8FA2F0-290D-4B82-B6F5-D3D9F847C9FA}"/>
              </a:ext>
            </a:extLst>
          </p:cNvPr>
          <p:cNvSpPr>
            <a:spLocks noGrp="1"/>
          </p:cNvSpPr>
          <p:nvPr>
            <p:ph type="body" sz="quarter" idx="13" hasCustomPrompt="1"/>
          </p:nvPr>
        </p:nvSpPr>
        <p:spPr bwMode="gray">
          <a:xfrm>
            <a:off x="3852639" y="3208174"/>
            <a:ext cx="3096121" cy="836768"/>
          </a:xfrm>
        </p:spPr>
        <p:txBody>
          <a:bodyPr wrap="square">
            <a:spAutoFit/>
          </a:bodyPr>
          <a:lstStyle>
            <a:lvl1pPr>
              <a:defRPr sz="1000"/>
            </a:lvl1pPr>
            <a:lvl2pPr marL="0" marR="0" indent="0" algn="l" defTabSz="914400" rtl="0" eaLnBrk="1" fontAlgn="base" latinLnBrk="0" hangingPunct="1">
              <a:lnSpc>
                <a:spcPct val="106000"/>
              </a:lnSpc>
              <a:spcBef>
                <a:spcPts val="200"/>
              </a:spcBef>
              <a:spcAft>
                <a:spcPts val="0"/>
              </a:spcAft>
              <a:buClrTx/>
              <a:buSzTx/>
              <a:buFontTx/>
              <a:buNone/>
              <a:tabLst/>
              <a:defRPr sz="900">
                <a:latin typeface="DWS Sans Light" panose="02010404010101010104" pitchFamily="50" charset="0"/>
                <a:cs typeface="DWS Sans Light" panose="02010404010101010104" pitchFamily="50" charset="0"/>
              </a:defRPr>
            </a:lvl2pPr>
            <a:lvl3pPr>
              <a:defRPr sz="1000"/>
            </a:lvl3pPr>
            <a:lvl4pPr>
              <a:defRPr sz="1000"/>
            </a:lvl4pPr>
            <a:lvl5pPr>
              <a:defRPr sz="1000"/>
            </a:lvl5pPr>
          </a:lstStyle>
          <a:p>
            <a:pPr lvl="1"/>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p:txBody>
      </p:sp>
      <p:cxnSp>
        <p:nvCxnSpPr>
          <p:cNvPr id="8" name="Gerader Verbinder 7">
            <a:extLst>
              <a:ext uri="{FF2B5EF4-FFF2-40B4-BE49-F238E27FC236}">
                <a16:creationId xmlns:a16="http://schemas.microsoft.com/office/drawing/2014/main" id="{D00B0EB4-9029-4A35-8BB1-D5C6115A3D21}"/>
              </a:ext>
            </a:extLst>
          </p:cNvPr>
          <p:cNvCxnSpPr/>
          <p:nvPr userDrawn="1"/>
        </p:nvCxnSpPr>
        <p:spPr bwMode="gray">
          <a:xfrm>
            <a:off x="612631" y="1638288"/>
            <a:ext cx="6336000" cy="0"/>
          </a:xfrm>
          <a:prstGeom prst="line">
            <a:avLst/>
          </a:prstGeom>
          <a:noFill/>
          <a:ln w="12700">
            <a:solidFill>
              <a:srgbClr val="97999B"/>
            </a:solidFill>
            <a:round/>
            <a:headEnd/>
            <a:tailEnd/>
          </a:ln>
        </p:spPr>
      </p:cxnSp>
      <p:cxnSp>
        <p:nvCxnSpPr>
          <p:cNvPr id="17" name="Gerader Verbinder 16">
            <a:extLst>
              <a:ext uri="{FF2B5EF4-FFF2-40B4-BE49-F238E27FC236}">
                <a16:creationId xmlns:a16="http://schemas.microsoft.com/office/drawing/2014/main" id="{1B92B282-B8C4-4596-B3F2-60D2180C2BEF}"/>
              </a:ext>
            </a:extLst>
          </p:cNvPr>
          <p:cNvCxnSpPr/>
          <p:nvPr userDrawn="1"/>
        </p:nvCxnSpPr>
        <p:spPr bwMode="gray">
          <a:xfrm>
            <a:off x="612631" y="1566280"/>
            <a:ext cx="6336000" cy="0"/>
          </a:xfrm>
          <a:prstGeom prst="line">
            <a:avLst/>
          </a:prstGeom>
          <a:noFill/>
          <a:ln w="12700">
            <a:solidFill>
              <a:srgbClr val="97999B"/>
            </a:solidFill>
            <a:round/>
            <a:headEnd/>
            <a:tailEnd/>
          </a:ln>
        </p:spPr>
      </p:cxnSp>
      <p:sp>
        <p:nvSpPr>
          <p:cNvPr id="18" name="Textplatzhalter 12">
            <a:extLst>
              <a:ext uri="{FF2B5EF4-FFF2-40B4-BE49-F238E27FC236}">
                <a16:creationId xmlns:a16="http://schemas.microsoft.com/office/drawing/2014/main" id="{5EABA8C7-D407-4653-B1C4-E460145CA1D6}"/>
              </a:ext>
            </a:extLst>
          </p:cNvPr>
          <p:cNvSpPr>
            <a:spLocks noGrp="1"/>
          </p:cNvSpPr>
          <p:nvPr>
            <p:ph type="body" sz="quarter" idx="17" hasCustomPrompt="1"/>
          </p:nvPr>
        </p:nvSpPr>
        <p:spPr bwMode="gray">
          <a:xfrm>
            <a:off x="612775" y="1854312"/>
            <a:ext cx="6336208" cy="492443"/>
          </a:xfrm>
        </p:spPr>
        <p:txBody>
          <a:bodyPr wrap="squar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3200" b="0">
                <a:solidFill>
                  <a:schemeClr val="accent2"/>
                </a:solidFill>
                <a:latin typeface="DWS Slab Light" panose="02010404010101010104" pitchFamily="50" charset="0"/>
                <a:cs typeface="DWS Slab Light" panose="02010404010101010104" pitchFamily="50" charset="0"/>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Placeholder Header</a:t>
            </a:r>
          </a:p>
        </p:txBody>
      </p:sp>
      <p:sp>
        <p:nvSpPr>
          <p:cNvPr id="22" name="Textplatzhalter 12">
            <a:extLst>
              <a:ext uri="{FF2B5EF4-FFF2-40B4-BE49-F238E27FC236}">
                <a16:creationId xmlns:a16="http://schemas.microsoft.com/office/drawing/2014/main" id="{8FF72595-6360-45DD-94FA-B02E9D2E6138}"/>
              </a:ext>
            </a:extLst>
          </p:cNvPr>
          <p:cNvSpPr>
            <a:spLocks noGrp="1"/>
          </p:cNvSpPr>
          <p:nvPr>
            <p:ph type="body" sz="quarter" idx="18" hasCustomPrompt="1"/>
          </p:nvPr>
        </p:nvSpPr>
        <p:spPr bwMode="gray">
          <a:xfrm>
            <a:off x="612775" y="1689971"/>
            <a:ext cx="6336208" cy="92333"/>
          </a:xfrm>
        </p:spPr>
        <p:txBody>
          <a:bodyPr wrap="square" anchor="t">
            <a:spAutoFit/>
          </a:bodyPr>
          <a:lstStyle>
            <a:lvl1pPr marL="0" marR="0" indent="0" algn="r" defTabSz="914400" rtl="0" eaLnBrk="1" fontAlgn="base" latinLnBrk="0" hangingPunct="1">
              <a:lnSpc>
                <a:spcPct val="100000"/>
              </a:lnSpc>
              <a:spcBef>
                <a:spcPts val="0"/>
              </a:spcBef>
              <a:spcAft>
                <a:spcPts val="0"/>
              </a:spcAft>
              <a:buClrTx/>
              <a:buSzTx/>
              <a:buFont typeface="Arial" panose="020B0604020202020204" pitchFamily="34" charset="0"/>
              <a:buNone/>
              <a:tabLst/>
              <a:defRPr sz="600" b="0">
                <a:solidFill>
                  <a:schemeClr val="accent3"/>
                </a:solidFill>
              </a:defRPr>
            </a:lvl1pPr>
            <a:lvl2pPr marL="0" indent="0">
              <a:lnSpc>
                <a:spcPct val="100000"/>
              </a:lnSpc>
              <a:spcBef>
                <a:spcPts val="0"/>
              </a:spcBef>
              <a:buFont typeface="Arial" panose="020B0604020202020204" pitchFamily="34" charset="0"/>
              <a:buNone/>
              <a:defRPr sz="600">
                <a:solidFill>
                  <a:schemeClr val="accent3"/>
                </a:solidFill>
              </a:defRPr>
            </a:lvl2pPr>
            <a:lvl3pPr marL="0" indent="0">
              <a:lnSpc>
                <a:spcPct val="100000"/>
              </a:lnSpc>
              <a:spcBef>
                <a:spcPts val="0"/>
              </a:spcBef>
              <a:buFont typeface="Arial" panose="020B0604020202020204" pitchFamily="34" charset="0"/>
              <a:buNone/>
              <a:defRPr sz="600">
                <a:solidFill>
                  <a:schemeClr val="accent3"/>
                </a:solidFill>
              </a:defRPr>
            </a:lvl3pPr>
            <a:lvl4pPr marL="0" indent="0">
              <a:lnSpc>
                <a:spcPct val="100000"/>
              </a:lnSpc>
              <a:spcBef>
                <a:spcPts val="0"/>
              </a:spcBef>
              <a:buNone/>
              <a:defRPr sz="600">
                <a:solidFill>
                  <a:schemeClr val="accent3"/>
                </a:solidFill>
              </a:defRPr>
            </a:lvl4pPr>
            <a:lvl5pPr marL="0" indent="0">
              <a:lnSpc>
                <a:spcPct val="100000"/>
              </a:lnSpc>
              <a:spcBef>
                <a:spcPts val="0"/>
              </a:spcBef>
              <a:buNone/>
              <a:defRPr sz="600">
                <a:solidFill>
                  <a:schemeClr val="accent3"/>
                </a:solidFill>
              </a:defRPr>
            </a:lvl5pPr>
          </a:lstStyle>
          <a:p>
            <a:pPr lvl="0"/>
            <a:r>
              <a:rPr lang="en-US" noProof="0" dirty="0"/>
              <a:t>Placeholder Internal use only</a:t>
            </a:r>
          </a:p>
        </p:txBody>
      </p:sp>
      <p:sp>
        <p:nvSpPr>
          <p:cNvPr id="23" name="Textplatzhalter 12">
            <a:extLst>
              <a:ext uri="{FF2B5EF4-FFF2-40B4-BE49-F238E27FC236}">
                <a16:creationId xmlns:a16="http://schemas.microsoft.com/office/drawing/2014/main" id="{7277914C-02F0-4B59-9F60-F68A80F12E66}"/>
              </a:ext>
            </a:extLst>
          </p:cNvPr>
          <p:cNvSpPr>
            <a:spLocks noGrp="1"/>
          </p:cNvSpPr>
          <p:nvPr>
            <p:ph type="body" sz="quarter" idx="19" hasCustomPrompt="1"/>
          </p:nvPr>
        </p:nvSpPr>
        <p:spPr bwMode="gray">
          <a:xfrm>
            <a:off x="612279" y="726376"/>
            <a:ext cx="634789"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Month 20XX</a:t>
            </a:r>
          </a:p>
        </p:txBody>
      </p:sp>
      <p:sp>
        <p:nvSpPr>
          <p:cNvPr id="26" name="Parallelogramm 25">
            <a:extLst>
              <a:ext uri="{FF2B5EF4-FFF2-40B4-BE49-F238E27FC236}">
                <a16:creationId xmlns:a16="http://schemas.microsoft.com/office/drawing/2014/main" id="{4793A6C0-BE02-4AAC-BB64-2C3B544AA3E2}"/>
              </a:ext>
            </a:extLst>
          </p:cNvPr>
          <p:cNvSpPr/>
          <p:nvPr userDrawn="1"/>
        </p:nvSpPr>
        <p:spPr bwMode="gray">
          <a:xfrm>
            <a:off x="1245393" y="293182"/>
            <a:ext cx="862013" cy="1004888"/>
          </a:xfrm>
          <a:prstGeom prst="parallelogram">
            <a:avLst>
              <a:gd name="adj" fmla="val 98481"/>
            </a:avLst>
          </a:prstGeom>
          <a:solidFill>
            <a:srgbClr val="97999B"/>
          </a:solidFill>
          <a:ln w="6350">
            <a:noFill/>
            <a:miter lim="800000"/>
            <a:headEnd/>
            <a:tailEnd/>
          </a:ln>
        </p:spPr>
        <p:txBody>
          <a:bodyPr lIns="108000" tIns="72000" rIns="108000" bIns="72000" rtlCol="0" anchor="ctr">
            <a:noAutofit/>
          </a:bodyPr>
          <a:lstStyle/>
          <a:p>
            <a:pPr marL="266700" indent="-266700" algn="ctr" defTabSz="963613" eaLnBrk="0" hangingPunct="0">
              <a:spcBef>
                <a:spcPts val="800"/>
              </a:spcBef>
              <a:buClr>
                <a:schemeClr val="tx1"/>
              </a:buClr>
              <a:buFont typeface="Arial" pitchFamily="34" charset="0"/>
              <a:buChar char="—"/>
              <a:tabLst>
                <a:tab pos="1257300" algn="l"/>
              </a:tabLst>
            </a:pPr>
            <a:endParaRPr lang="en-US" sz="1000" dirty="0">
              <a:latin typeface="DWS Sans Light" panose="02010404010101010104" pitchFamily="50" charset="0"/>
              <a:cs typeface="DWS Sans Light" panose="02010404010101010104" pitchFamily="50" charset="0"/>
            </a:endParaRPr>
          </a:p>
        </p:txBody>
      </p:sp>
      <p:sp>
        <p:nvSpPr>
          <p:cNvPr id="30" name="Textplatzhalter 12">
            <a:extLst>
              <a:ext uri="{FF2B5EF4-FFF2-40B4-BE49-F238E27FC236}">
                <a16:creationId xmlns:a16="http://schemas.microsoft.com/office/drawing/2014/main" id="{05856FC8-CE4C-49DA-8819-FDD91233A9C6}"/>
              </a:ext>
            </a:extLst>
          </p:cNvPr>
          <p:cNvSpPr>
            <a:spLocks noGrp="1"/>
          </p:cNvSpPr>
          <p:nvPr>
            <p:ph type="body" sz="quarter" idx="20" hasCustomPrompt="1"/>
          </p:nvPr>
        </p:nvSpPr>
        <p:spPr bwMode="gray">
          <a:xfrm>
            <a:off x="2345519" y="497300"/>
            <a:ext cx="1134926"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Placeholder Contents:</a:t>
            </a:r>
          </a:p>
        </p:txBody>
      </p:sp>
      <p:sp>
        <p:nvSpPr>
          <p:cNvPr id="31" name="Textplatzhalter 12">
            <a:extLst>
              <a:ext uri="{FF2B5EF4-FFF2-40B4-BE49-F238E27FC236}">
                <a16:creationId xmlns:a16="http://schemas.microsoft.com/office/drawing/2014/main" id="{02CB252D-2BD2-468A-9996-BA142368EC8B}"/>
              </a:ext>
            </a:extLst>
          </p:cNvPr>
          <p:cNvSpPr>
            <a:spLocks noGrp="1"/>
          </p:cNvSpPr>
          <p:nvPr>
            <p:ph type="body" sz="quarter" idx="21" hasCustomPrompt="1"/>
          </p:nvPr>
        </p:nvSpPr>
        <p:spPr bwMode="gray">
          <a:xfrm>
            <a:off x="2291314" y="641181"/>
            <a:ext cx="110608"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1</a:t>
            </a:r>
          </a:p>
        </p:txBody>
      </p:sp>
      <p:sp>
        <p:nvSpPr>
          <p:cNvPr id="32" name="Textplatzhalter 12">
            <a:extLst>
              <a:ext uri="{FF2B5EF4-FFF2-40B4-BE49-F238E27FC236}">
                <a16:creationId xmlns:a16="http://schemas.microsoft.com/office/drawing/2014/main" id="{1E3A95D2-7ED9-47AE-9775-EB8F59BA7ACF}"/>
              </a:ext>
            </a:extLst>
          </p:cNvPr>
          <p:cNvSpPr>
            <a:spLocks noGrp="1"/>
          </p:cNvSpPr>
          <p:nvPr>
            <p:ph type="body" sz="quarter" idx="22" hasCustomPrompt="1"/>
          </p:nvPr>
        </p:nvSpPr>
        <p:spPr bwMode="gray">
          <a:xfrm>
            <a:off x="2174630" y="785062"/>
            <a:ext cx="128588" cy="138499"/>
          </a:xfrm>
        </p:spPr>
        <p:txBody>
          <a:bodyPr wrap="none" anchor="ctr">
            <a:no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2</a:t>
            </a:r>
          </a:p>
        </p:txBody>
      </p:sp>
      <p:sp>
        <p:nvSpPr>
          <p:cNvPr id="33" name="Textplatzhalter 12">
            <a:extLst>
              <a:ext uri="{FF2B5EF4-FFF2-40B4-BE49-F238E27FC236}">
                <a16:creationId xmlns:a16="http://schemas.microsoft.com/office/drawing/2014/main" id="{9E0DCCC2-18D1-4500-B536-6A1B653E76C2}"/>
              </a:ext>
            </a:extLst>
          </p:cNvPr>
          <p:cNvSpPr>
            <a:spLocks noGrp="1"/>
          </p:cNvSpPr>
          <p:nvPr>
            <p:ph type="body" sz="quarter" idx="23" hasCustomPrompt="1"/>
          </p:nvPr>
        </p:nvSpPr>
        <p:spPr bwMode="gray">
          <a:xfrm>
            <a:off x="2058295" y="928943"/>
            <a:ext cx="131446"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3</a:t>
            </a:r>
          </a:p>
        </p:txBody>
      </p:sp>
      <p:sp>
        <p:nvSpPr>
          <p:cNvPr id="34" name="Textplatzhalter 12">
            <a:extLst>
              <a:ext uri="{FF2B5EF4-FFF2-40B4-BE49-F238E27FC236}">
                <a16:creationId xmlns:a16="http://schemas.microsoft.com/office/drawing/2014/main" id="{070B562A-D92A-4BA8-8307-62CB2C3BF291}"/>
              </a:ext>
            </a:extLst>
          </p:cNvPr>
          <p:cNvSpPr>
            <a:spLocks noGrp="1"/>
          </p:cNvSpPr>
          <p:nvPr>
            <p:ph type="body" sz="quarter" idx="24" hasCustomPrompt="1"/>
          </p:nvPr>
        </p:nvSpPr>
        <p:spPr bwMode="gray">
          <a:xfrm>
            <a:off x="1941960" y="1072824"/>
            <a:ext cx="134652"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4</a:t>
            </a:r>
          </a:p>
        </p:txBody>
      </p:sp>
      <p:sp>
        <p:nvSpPr>
          <p:cNvPr id="36" name="Textplatzhalter 12">
            <a:extLst>
              <a:ext uri="{FF2B5EF4-FFF2-40B4-BE49-F238E27FC236}">
                <a16:creationId xmlns:a16="http://schemas.microsoft.com/office/drawing/2014/main" id="{EC0EF89B-1985-43EE-B7DB-20319778334F}"/>
              </a:ext>
            </a:extLst>
          </p:cNvPr>
          <p:cNvSpPr>
            <a:spLocks noGrp="1"/>
          </p:cNvSpPr>
          <p:nvPr>
            <p:ph type="body" sz="quarter" idx="26" hasCustomPrompt="1"/>
          </p:nvPr>
        </p:nvSpPr>
        <p:spPr bwMode="gray">
          <a:xfrm>
            <a:off x="2476564" y="641181"/>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37" name="Textplatzhalter 12">
            <a:extLst>
              <a:ext uri="{FF2B5EF4-FFF2-40B4-BE49-F238E27FC236}">
                <a16:creationId xmlns:a16="http://schemas.microsoft.com/office/drawing/2014/main" id="{86262E24-4DCD-46BC-9291-F22D3FA1E8DA}"/>
              </a:ext>
            </a:extLst>
          </p:cNvPr>
          <p:cNvSpPr>
            <a:spLocks noGrp="1"/>
          </p:cNvSpPr>
          <p:nvPr>
            <p:ph type="body" sz="quarter" idx="27" hasCustomPrompt="1"/>
          </p:nvPr>
        </p:nvSpPr>
        <p:spPr bwMode="gray">
          <a:xfrm>
            <a:off x="2359880" y="785062"/>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38" name="Textplatzhalter 12">
            <a:extLst>
              <a:ext uri="{FF2B5EF4-FFF2-40B4-BE49-F238E27FC236}">
                <a16:creationId xmlns:a16="http://schemas.microsoft.com/office/drawing/2014/main" id="{9469E5F3-CE59-40D1-A516-216329B3A1AF}"/>
              </a:ext>
            </a:extLst>
          </p:cNvPr>
          <p:cNvSpPr>
            <a:spLocks noGrp="1"/>
          </p:cNvSpPr>
          <p:nvPr>
            <p:ph type="body" sz="quarter" idx="28" hasCustomPrompt="1"/>
          </p:nvPr>
        </p:nvSpPr>
        <p:spPr bwMode="gray">
          <a:xfrm>
            <a:off x="2243545" y="928943"/>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39" name="Textplatzhalter 12">
            <a:extLst>
              <a:ext uri="{FF2B5EF4-FFF2-40B4-BE49-F238E27FC236}">
                <a16:creationId xmlns:a16="http://schemas.microsoft.com/office/drawing/2014/main" id="{BDCFA413-6E54-4AAE-8F29-B67DFA6E06E4}"/>
              </a:ext>
            </a:extLst>
          </p:cNvPr>
          <p:cNvSpPr>
            <a:spLocks noGrp="1"/>
          </p:cNvSpPr>
          <p:nvPr>
            <p:ph type="body" sz="quarter" idx="29" hasCustomPrompt="1"/>
          </p:nvPr>
        </p:nvSpPr>
        <p:spPr bwMode="gray">
          <a:xfrm>
            <a:off x="2127210" y="1072824"/>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7" name="Textplatzhalter 6"/>
          <p:cNvSpPr>
            <a:spLocks noGrp="1"/>
          </p:cNvSpPr>
          <p:nvPr>
            <p:ph type="body" sz="quarter" idx="40"/>
          </p:nvPr>
        </p:nvSpPr>
        <p:spPr>
          <a:xfrm>
            <a:off x="612775" y="10233025"/>
            <a:ext cx="6335713" cy="153988"/>
          </a:xfrm>
        </p:spPr>
        <p:txBody>
          <a:bodyPr>
            <a:noAutofit/>
          </a:bodyPr>
          <a:lstStyle>
            <a:lvl1pPr>
              <a:defRPr sz="700" b="0">
                <a:solidFill>
                  <a:schemeClr val="accent3"/>
                </a:solidFill>
                <a:latin typeface="DWS Sans Light" panose="02010404010101010104" pitchFamily="50" charset="0"/>
                <a:cs typeface="DWS Sans Light" panose="02010404010101010104" pitchFamily="50" charset="0"/>
              </a:defRPr>
            </a:lvl1pPr>
            <a:lvl2pPr>
              <a:defRPr sz="700" b="0">
                <a:solidFill>
                  <a:schemeClr val="accent3"/>
                </a:solidFill>
                <a:latin typeface="DWS Sans Light" panose="02010404010101010104" pitchFamily="50" charset="0"/>
                <a:cs typeface="DWS Sans Light" panose="02010404010101010104" pitchFamily="50" charset="0"/>
              </a:defRPr>
            </a:lvl2pPr>
            <a:lvl3pPr>
              <a:defRPr sz="700" b="0">
                <a:solidFill>
                  <a:schemeClr val="accent3"/>
                </a:solidFill>
                <a:latin typeface="DWS Sans Light" panose="02010404010101010104" pitchFamily="50" charset="0"/>
                <a:cs typeface="DWS Sans Light" panose="02010404010101010104" pitchFamily="50" charset="0"/>
              </a:defRPr>
            </a:lvl3pPr>
            <a:lvl4pPr>
              <a:defRPr sz="700" b="0">
                <a:solidFill>
                  <a:schemeClr val="accent3"/>
                </a:solidFill>
                <a:latin typeface="DWS Sans Light" panose="02010404010101010104" pitchFamily="50" charset="0"/>
                <a:cs typeface="DWS Sans Light" panose="02010404010101010104" pitchFamily="50" charset="0"/>
              </a:defRPr>
            </a:lvl4pPr>
            <a:lvl5pPr>
              <a:defRPr sz="700" b="0">
                <a:solidFill>
                  <a:schemeClr val="accent3"/>
                </a:solidFill>
                <a:latin typeface="DWS Sans Light" panose="02010404010101010104" pitchFamily="50" charset="0"/>
                <a:cs typeface="DWS Sans Light" panose="02010404010101010104" pitchFamily="50" charset="0"/>
              </a:defRPr>
            </a:lvl5pPr>
          </a:lstStyle>
          <a:p>
            <a:pPr lvl="0"/>
            <a:r>
              <a:rPr lang="de-DE" dirty="0"/>
              <a:t>Textmasterformat bearbeiten</a:t>
            </a:r>
          </a:p>
        </p:txBody>
      </p:sp>
      <p:sp>
        <p:nvSpPr>
          <p:cNvPr id="48" name="Textfeld 47"/>
          <p:cNvSpPr txBox="1"/>
          <p:nvPr userDrawn="1"/>
        </p:nvSpPr>
        <p:spPr bwMode="ltGray">
          <a:xfrm>
            <a:off x="615181" y="5346700"/>
            <a:ext cx="6336000" cy="228396"/>
          </a:xfrm>
          <a:prstGeom prst="rect">
            <a:avLst/>
          </a:prstGeom>
          <a:noFill/>
          <a:ln w="6350">
            <a:noFill/>
            <a:miter lim="800000"/>
            <a:headEnd/>
            <a:tailEnd/>
          </a:ln>
        </p:spPr>
        <p:txBody>
          <a:bodyPr wrap="square" lIns="0" tIns="0" rIns="0" bIns="0" rtlCol="0" anchor="t" anchorCtr="0">
            <a:spAutoFit/>
          </a:bodyPr>
          <a:lstStyle/>
          <a:p>
            <a:pPr eaLnBrk="0" hangingPunct="0">
              <a:lnSpc>
                <a:spcPct val="106000"/>
              </a:lnSpc>
              <a:spcBef>
                <a:spcPts val="200"/>
              </a:spcBef>
            </a:pPr>
            <a:r>
              <a:rPr lang="de-DE" sz="1400" baseline="0" dirty="0">
                <a:solidFill>
                  <a:schemeClr val="bg2"/>
                </a:solidFill>
                <a:latin typeface="DWS Sans Light" panose="02010404010101010104" pitchFamily="50" charset="0"/>
                <a:cs typeface="DWS Sans Light" panose="02010404010101010104" pitchFamily="50" charset="0"/>
              </a:rPr>
              <a:t>Die 3 Top-Trends, die die Kapitalmärkte in der nächsten Zeit prägen werden </a:t>
            </a:r>
            <a:endParaRPr lang="de-DE" sz="1400" dirty="0">
              <a:solidFill>
                <a:schemeClr val="bg2"/>
              </a:solidFill>
              <a:latin typeface="DWS Sans Light" panose="02010404010101010104" pitchFamily="50" charset="0"/>
              <a:cs typeface="DWS Sans Light" panose="02010404010101010104" pitchFamily="50" charset="0"/>
            </a:endParaRPr>
          </a:p>
        </p:txBody>
      </p:sp>
    </p:spTree>
    <p:extLst>
      <p:ext uri="{BB962C8B-B14F-4D97-AF65-F5344CB8AC3E}">
        <p14:creationId xmlns:p14="http://schemas.microsoft.com/office/powerpoint/2010/main" val="2953491373"/>
      </p:ext>
    </p:extLst>
  </p:cSld>
  <p:clrMapOvr>
    <a:masterClrMapping/>
  </p:clrMapOvr>
  <p:extLst>
    <p:ext uri="{DCECCB84-F9BA-43D5-87BE-67443E8EF086}">
      <p15:sldGuideLst xmlns:p15="http://schemas.microsoft.com/office/powerpoint/2012/main">
        <p15:guide id="1" orient="horz" pos="510" userDrawn="1">
          <p15:clr>
            <a:srgbClr val="FBAE40"/>
          </p15:clr>
        </p15:guide>
        <p15:guide id="2" orient="horz" pos="6543">
          <p15:clr>
            <a:srgbClr val="FBAE40"/>
          </p15:clr>
        </p15:guide>
        <p15:guide id="3" pos="2427">
          <p15:clr>
            <a:srgbClr val="FBAE40"/>
          </p15:clr>
        </p15:guide>
        <p15:guide id="4" pos="108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Markt &amp; Makro II">
    <p:spTree>
      <p:nvGrpSpPr>
        <p:cNvPr id="1" name=""/>
        <p:cNvGrpSpPr/>
        <p:nvPr/>
      </p:nvGrpSpPr>
      <p:grpSpPr>
        <a:xfrm>
          <a:off x="0" y="0"/>
          <a:ext cx="0" cy="0"/>
          <a:chOff x="0" y="0"/>
          <a:chExt cx="0" cy="0"/>
        </a:xfrm>
      </p:grpSpPr>
      <p:graphicFrame>
        <p:nvGraphicFramePr>
          <p:cNvPr id="20" name="Objekt 19" hidden="1">
            <a:extLst>
              <a:ext uri="{FF2B5EF4-FFF2-40B4-BE49-F238E27FC236}">
                <a16:creationId xmlns:a16="http://schemas.microsoft.com/office/drawing/2014/main" id="{6891F096-6043-4BF9-8371-D1A126016511}"/>
              </a:ext>
            </a:extLst>
          </p:cNvPr>
          <p:cNvGraphicFramePr>
            <a:graphicFrameLocks noChangeAspect="1"/>
          </p:cNvGraphicFramePr>
          <p:nvPr userDrawn="1">
            <p:custDataLst>
              <p:tags r:id="rId1"/>
            </p:custDataLst>
            <p:extLst>
              <p:ext uri="{D42A27DB-BD31-4B8C-83A1-F6EECF244321}">
                <p14:modId xmlns:p14="http://schemas.microsoft.com/office/powerpoint/2010/main" val="1213256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0" name="Objekt 19" hidden="1">
                        <a:extLst>
                          <a:ext uri="{FF2B5EF4-FFF2-40B4-BE49-F238E27FC236}">
                            <a16:creationId xmlns:a16="http://schemas.microsoft.com/office/drawing/2014/main" id="{6891F096-6043-4BF9-8371-D1A1260165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hteck 18" hidden="1">
            <a:extLst>
              <a:ext uri="{FF2B5EF4-FFF2-40B4-BE49-F238E27FC236}">
                <a16:creationId xmlns:a16="http://schemas.microsoft.com/office/drawing/2014/main" id="{6DEFFC93-5A73-4669-9294-867CE1AD2CF7}"/>
              </a:ext>
            </a:extLst>
          </p:cNvPr>
          <p:cNvSpPr/>
          <p:nvPr userDrawn="1">
            <p:custDataLst>
              <p:tags r:id="rId2"/>
            </p:custDataLst>
          </p:nvPr>
        </p:nvSpPr>
        <p:spPr bwMode="auto">
          <a:xfrm>
            <a:off x="0" y="0"/>
            <a:ext cx="158750" cy="158750"/>
          </a:xfrm>
          <a:prstGeom prst="rect">
            <a:avLst/>
          </a:prstGeom>
          <a:solidFill>
            <a:srgbClr val="E6EAEE"/>
          </a:solidFill>
          <a:ln w="6350">
            <a:solidFill>
              <a:srgbClr val="E6EAEE"/>
            </a:solidFill>
            <a:miter lim="800000"/>
            <a:headEnd/>
            <a:tailEnd/>
          </a:ln>
        </p:spPr>
        <p:txBody>
          <a:bodyPr vert="horz" wrap="none" lIns="0" tIns="0" rIns="0" bIns="0" numCol="1" spcCol="0" rtlCol="0" anchor="ctr" anchorCtr="0">
            <a:noAutofit/>
          </a:bodyPr>
          <a:lstStyle/>
          <a:p>
            <a:pPr marL="0" lvl="0" indent="0" algn="ctr" defTabSz="963613" eaLnBrk="0" hangingPunct="0">
              <a:spcBef>
                <a:spcPts val="800"/>
              </a:spcBef>
              <a:buClr>
                <a:schemeClr val="tx1"/>
              </a:buClr>
              <a:buFontTx/>
              <a:buNone/>
              <a:tabLst>
                <a:tab pos="1257300" algn="l"/>
              </a:tabLst>
            </a:pPr>
            <a:endParaRPr lang="en-US" sz="1600" b="0" i="0" baseline="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el 1">
            <a:extLst>
              <a:ext uri="{FF2B5EF4-FFF2-40B4-BE49-F238E27FC236}">
                <a16:creationId xmlns:a16="http://schemas.microsoft.com/office/drawing/2014/main" id="{AB4C2818-3ED9-40FD-A530-B3A8B386744C}"/>
              </a:ext>
            </a:extLst>
          </p:cNvPr>
          <p:cNvSpPr>
            <a:spLocks noGrp="1"/>
          </p:cNvSpPr>
          <p:nvPr>
            <p:ph type="title" hasCustomPrompt="1"/>
          </p:nvPr>
        </p:nvSpPr>
        <p:spPr bwMode="gray">
          <a:xfrm>
            <a:off x="612775" y="2779673"/>
            <a:ext cx="6335713" cy="233910"/>
          </a:xfrm>
        </p:spPr>
        <p:txBody>
          <a:bodyPr/>
          <a:lstStyle>
            <a:lvl1pPr>
              <a:defRPr sz="1600" b="0">
                <a:solidFill>
                  <a:schemeClr val="bg2"/>
                </a:solidFill>
                <a:latin typeface="DWS Sans Light" panose="02010404010101010104" pitchFamily="50" charset="0"/>
                <a:cs typeface="DWS Sans Light" panose="02010404010101010104" pitchFamily="50" charset="0"/>
              </a:defRPr>
            </a:lvl1pPr>
          </a:lstStyle>
          <a:p>
            <a:r>
              <a:rPr lang="en-US" dirty="0"/>
              <a:t>Placeholder title</a:t>
            </a:r>
            <a:endParaRPr lang="de-DE" dirty="0"/>
          </a:p>
        </p:txBody>
      </p:sp>
      <p:sp>
        <p:nvSpPr>
          <p:cNvPr id="25" name="Textplatzhalter 12">
            <a:extLst>
              <a:ext uri="{FF2B5EF4-FFF2-40B4-BE49-F238E27FC236}">
                <a16:creationId xmlns:a16="http://schemas.microsoft.com/office/drawing/2014/main" id="{CDA5A2BA-F61B-41BF-B79F-B5BB15BD5D3E}"/>
              </a:ext>
            </a:extLst>
          </p:cNvPr>
          <p:cNvSpPr>
            <a:spLocks noGrp="1"/>
          </p:cNvSpPr>
          <p:nvPr>
            <p:ph type="body" sz="quarter" idx="15" hasCustomPrompt="1"/>
          </p:nvPr>
        </p:nvSpPr>
        <p:spPr bwMode="gray">
          <a:xfrm>
            <a:off x="612278" y="2502384"/>
            <a:ext cx="173124" cy="169277"/>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1100" b="0">
                <a:solidFill>
                  <a:schemeClr val="accent2"/>
                </a:solidFill>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X</a:t>
            </a:r>
          </a:p>
        </p:txBody>
      </p:sp>
      <p:sp>
        <p:nvSpPr>
          <p:cNvPr id="29" name="Textplatzhalter 12">
            <a:extLst>
              <a:ext uri="{FF2B5EF4-FFF2-40B4-BE49-F238E27FC236}">
                <a16:creationId xmlns:a16="http://schemas.microsoft.com/office/drawing/2014/main" id="{EEF72869-3591-49DF-B605-493E2787BF59}"/>
              </a:ext>
            </a:extLst>
          </p:cNvPr>
          <p:cNvSpPr>
            <a:spLocks noGrp="1"/>
          </p:cNvSpPr>
          <p:nvPr>
            <p:ph type="body" sz="quarter" idx="16" hasCustomPrompt="1"/>
          </p:nvPr>
        </p:nvSpPr>
        <p:spPr bwMode="gray">
          <a:xfrm>
            <a:off x="828303" y="2502384"/>
            <a:ext cx="6120680" cy="169277"/>
          </a:xfrm>
        </p:spPr>
        <p:txBody>
          <a:bodyPr wrap="squar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1100" b="0">
                <a:solidFill>
                  <a:schemeClr val="accent3"/>
                </a:solidFill>
                <a:latin typeface="DWS Slab Light" panose="02010404010101010104" pitchFamily="50" charset="0"/>
                <a:cs typeface="DWS Slab Light" panose="02010404010101010104" pitchFamily="50" charset="0"/>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Placeholder Chapter</a:t>
            </a:r>
          </a:p>
        </p:txBody>
      </p:sp>
      <p:pic>
        <p:nvPicPr>
          <p:cNvPr id="15" name="Grafik 14">
            <a:extLst>
              <a:ext uri="{FF2B5EF4-FFF2-40B4-BE49-F238E27FC236}">
                <a16:creationId xmlns:a16="http://schemas.microsoft.com/office/drawing/2014/main" id="{09D1D295-5291-4D0F-8A41-61B89D43BA7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gray">
          <a:xfrm>
            <a:off x="5222886" y="296648"/>
            <a:ext cx="2009763" cy="1005212"/>
          </a:xfrm>
          <a:prstGeom prst="rect">
            <a:avLst/>
          </a:prstGeom>
        </p:spPr>
      </p:pic>
      <p:sp>
        <p:nvSpPr>
          <p:cNvPr id="13" name="Textplatzhalter 12">
            <a:extLst>
              <a:ext uri="{FF2B5EF4-FFF2-40B4-BE49-F238E27FC236}">
                <a16:creationId xmlns:a16="http://schemas.microsoft.com/office/drawing/2014/main" id="{14E52239-0B41-4EF5-8B95-1BFC25885969}"/>
              </a:ext>
            </a:extLst>
          </p:cNvPr>
          <p:cNvSpPr>
            <a:spLocks noGrp="1"/>
          </p:cNvSpPr>
          <p:nvPr>
            <p:ph type="body" sz="quarter" idx="12" hasCustomPrompt="1"/>
          </p:nvPr>
        </p:nvSpPr>
        <p:spPr bwMode="gray">
          <a:xfrm>
            <a:off x="612278" y="3141780"/>
            <a:ext cx="3096121" cy="836768"/>
          </a:xfrm>
        </p:spPr>
        <p:txBody>
          <a:bodyPr wrap="square">
            <a:spAutoFit/>
          </a:bodyPr>
          <a:lstStyle>
            <a:lvl1pPr>
              <a:defRPr sz="1000">
                <a:solidFill>
                  <a:schemeClr val="accent2"/>
                </a:solidFill>
              </a:defRPr>
            </a:lvl1pPr>
            <a:lvl2pPr marL="0" marR="0" indent="0" algn="l" defTabSz="914400" rtl="0" eaLnBrk="1" fontAlgn="base" latinLnBrk="0" hangingPunct="1">
              <a:lnSpc>
                <a:spcPct val="106000"/>
              </a:lnSpc>
              <a:spcBef>
                <a:spcPts val="200"/>
              </a:spcBef>
              <a:spcAft>
                <a:spcPts val="0"/>
              </a:spcAft>
              <a:buClrTx/>
              <a:buSzTx/>
              <a:buFont typeface="DWS Sans Light" panose="02010404010101010104" pitchFamily="50" charset="0"/>
              <a:buNone/>
              <a:tabLst/>
              <a:defRPr sz="900">
                <a:solidFill>
                  <a:schemeClr val="bg2"/>
                </a:solidFill>
                <a:latin typeface="DWS Sans Light" panose="02010404010101010104" pitchFamily="50" charset="0"/>
                <a:cs typeface="DWS Sans Light" panose="02010404010101010104" pitchFamily="50" charset="0"/>
              </a:defRPr>
            </a:lvl2pPr>
            <a:lvl3pPr>
              <a:defRPr sz="1000"/>
            </a:lvl3pPr>
            <a:lvl4pPr>
              <a:defRPr sz="1000"/>
            </a:lvl4pPr>
            <a:lvl5pPr marL="0" indent="0">
              <a:buNone/>
              <a:defRPr sz="1200">
                <a:solidFill>
                  <a:schemeClr val="accent3"/>
                </a:solidFill>
              </a:defRPr>
            </a:lvl5pPr>
          </a:lstStyle>
          <a:p>
            <a:pPr lvl="1"/>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p:txBody>
      </p:sp>
      <p:sp>
        <p:nvSpPr>
          <p:cNvPr id="14" name="Textplatzhalter 12">
            <a:extLst>
              <a:ext uri="{FF2B5EF4-FFF2-40B4-BE49-F238E27FC236}">
                <a16:creationId xmlns:a16="http://schemas.microsoft.com/office/drawing/2014/main" id="{BB8FA2F0-290D-4B82-B6F5-D3D9F847C9FA}"/>
              </a:ext>
            </a:extLst>
          </p:cNvPr>
          <p:cNvSpPr>
            <a:spLocks noGrp="1"/>
          </p:cNvSpPr>
          <p:nvPr>
            <p:ph type="body" sz="quarter" idx="13" hasCustomPrompt="1"/>
          </p:nvPr>
        </p:nvSpPr>
        <p:spPr bwMode="gray">
          <a:xfrm>
            <a:off x="3852639" y="3141780"/>
            <a:ext cx="3096121" cy="836768"/>
          </a:xfrm>
        </p:spPr>
        <p:txBody>
          <a:bodyPr wrap="square">
            <a:spAutoFit/>
          </a:bodyPr>
          <a:lstStyle>
            <a:lvl1pPr>
              <a:defRPr sz="1000"/>
            </a:lvl1pPr>
            <a:lvl2pPr marL="0" marR="0" indent="0" algn="l" defTabSz="914400" rtl="0" eaLnBrk="1" fontAlgn="base" latinLnBrk="0" hangingPunct="1">
              <a:lnSpc>
                <a:spcPct val="106000"/>
              </a:lnSpc>
              <a:spcBef>
                <a:spcPts val="200"/>
              </a:spcBef>
              <a:spcAft>
                <a:spcPts val="0"/>
              </a:spcAft>
              <a:buClrTx/>
              <a:buSzTx/>
              <a:buFontTx/>
              <a:buNone/>
              <a:tabLst/>
              <a:defRPr sz="900">
                <a:latin typeface="DWS Sans Light" panose="02010404010101010104" pitchFamily="50" charset="0"/>
                <a:cs typeface="DWS Sans Light" panose="02010404010101010104" pitchFamily="50" charset="0"/>
              </a:defRPr>
            </a:lvl2pPr>
            <a:lvl3pPr>
              <a:defRPr sz="1000"/>
            </a:lvl3pPr>
            <a:lvl4pPr>
              <a:defRPr sz="1000"/>
            </a:lvl4pPr>
            <a:lvl5pPr>
              <a:defRPr sz="1000"/>
            </a:lvl5pPr>
          </a:lstStyle>
          <a:p>
            <a:pPr lvl="1"/>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p:txBody>
      </p:sp>
      <p:cxnSp>
        <p:nvCxnSpPr>
          <p:cNvPr id="8" name="Gerader Verbinder 7">
            <a:extLst>
              <a:ext uri="{FF2B5EF4-FFF2-40B4-BE49-F238E27FC236}">
                <a16:creationId xmlns:a16="http://schemas.microsoft.com/office/drawing/2014/main" id="{D00B0EB4-9029-4A35-8BB1-D5C6115A3D21}"/>
              </a:ext>
            </a:extLst>
          </p:cNvPr>
          <p:cNvCxnSpPr/>
          <p:nvPr userDrawn="1"/>
        </p:nvCxnSpPr>
        <p:spPr bwMode="gray">
          <a:xfrm>
            <a:off x="612631" y="1638288"/>
            <a:ext cx="6336000" cy="0"/>
          </a:xfrm>
          <a:prstGeom prst="line">
            <a:avLst/>
          </a:prstGeom>
          <a:noFill/>
          <a:ln w="12700">
            <a:solidFill>
              <a:srgbClr val="97999B"/>
            </a:solidFill>
            <a:round/>
            <a:headEnd/>
            <a:tailEnd/>
          </a:ln>
        </p:spPr>
      </p:cxnSp>
      <p:cxnSp>
        <p:nvCxnSpPr>
          <p:cNvPr id="17" name="Gerader Verbinder 16">
            <a:extLst>
              <a:ext uri="{FF2B5EF4-FFF2-40B4-BE49-F238E27FC236}">
                <a16:creationId xmlns:a16="http://schemas.microsoft.com/office/drawing/2014/main" id="{1B92B282-B8C4-4596-B3F2-60D2180C2BEF}"/>
              </a:ext>
            </a:extLst>
          </p:cNvPr>
          <p:cNvCxnSpPr/>
          <p:nvPr userDrawn="1"/>
        </p:nvCxnSpPr>
        <p:spPr bwMode="gray">
          <a:xfrm>
            <a:off x="612631" y="1566280"/>
            <a:ext cx="6336000" cy="0"/>
          </a:xfrm>
          <a:prstGeom prst="line">
            <a:avLst/>
          </a:prstGeom>
          <a:noFill/>
          <a:ln w="12700">
            <a:solidFill>
              <a:srgbClr val="97999B"/>
            </a:solidFill>
            <a:round/>
            <a:headEnd/>
            <a:tailEnd/>
          </a:ln>
        </p:spPr>
      </p:cxnSp>
      <p:sp>
        <p:nvSpPr>
          <p:cNvPr id="18" name="Textplatzhalter 12">
            <a:extLst>
              <a:ext uri="{FF2B5EF4-FFF2-40B4-BE49-F238E27FC236}">
                <a16:creationId xmlns:a16="http://schemas.microsoft.com/office/drawing/2014/main" id="{5EABA8C7-D407-4653-B1C4-E460145CA1D6}"/>
              </a:ext>
            </a:extLst>
          </p:cNvPr>
          <p:cNvSpPr>
            <a:spLocks noGrp="1"/>
          </p:cNvSpPr>
          <p:nvPr>
            <p:ph type="body" sz="quarter" idx="17" hasCustomPrompt="1"/>
          </p:nvPr>
        </p:nvSpPr>
        <p:spPr bwMode="gray">
          <a:xfrm>
            <a:off x="612775" y="1854312"/>
            <a:ext cx="6336208" cy="492443"/>
          </a:xfrm>
        </p:spPr>
        <p:txBody>
          <a:bodyPr wrap="squar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3200" b="0">
                <a:solidFill>
                  <a:schemeClr val="accent2"/>
                </a:solidFill>
                <a:latin typeface="DWS Slab Light" panose="02010404010101010104" pitchFamily="50" charset="0"/>
                <a:cs typeface="DWS Slab Light" panose="02010404010101010104" pitchFamily="50" charset="0"/>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Placeholder Header</a:t>
            </a:r>
          </a:p>
        </p:txBody>
      </p:sp>
      <p:sp>
        <p:nvSpPr>
          <p:cNvPr id="22" name="Textplatzhalter 12">
            <a:extLst>
              <a:ext uri="{FF2B5EF4-FFF2-40B4-BE49-F238E27FC236}">
                <a16:creationId xmlns:a16="http://schemas.microsoft.com/office/drawing/2014/main" id="{8FF72595-6360-45DD-94FA-B02E9D2E6138}"/>
              </a:ext>
            </a:extLst>
          </p:cNvPr>
          <p:cNvSpPr>
            <a:spLocks noGrp="1"/>
          </p:cNvSpPr>
          <p:nvPr>
            <p:ph type="body" sz="quarter" idx="18" hasCustomPrompt="1"/>
          </p:nvPr>
        </p:nvSpPr>
        <p:spPr bwMode="gray">
          <a:xfrm>
            <a:off x="612775" y="1689971"/>
            <a:ext cx="6336208" cy="92333"/>
          </a:xfrm>
        </p:spPr>
        <p:txBody>
          <a:bodyPr wrap="square" anchor="t">
            <a:spAutoFit/>
          </a:bodyPr>
          <a:lstStyle>
            <a:lvl1pPr marL="0" marR="0" indent="0" algn="r" defTabSz="914400" rtl="0" eaLnBrk="1" fontAlgn="base" latinLnBrk="0" hangingPunct="1">
              <a:lnSpc>
                <a:spcPct val="100000"/>
              </a:lnSpc>
              <a:spcBef>
                <a:spcPts val="0"/>
              </a:spcBef>
              <a:spcAft>
                <a:spcPts val="0"/>
              </a:spcAft>
              <a:buClrTx/>
              <a:buSzTx/>
              <a:buFont typeface="Arial" panose="020B0604020202020204" pitchFamily="34" charset="0"/>
              <a:buNone/>
              <a:tabLst/>
              <a:defRPr sz="600" b="0">
                <a:solidFill>
                  <a:schemeClr val="accent3"/>
                </a:solidFill>
              </a:defRPr>
            </a:lvl1pPr>
            <a:lvl2pPr marL="0" indent="0">
              <a:lnSpc>
                <a:spcPct val="100000"/>
              </a:lnSpc>
              <a:spcBef>
                <a:spcPts val="0"/>
              </a:spcBef>
              <a:buFont typeface="Arial" panose="020B0604020202020204" pitchFamily="34" charset="0"/>
              <a:buNone/>
              <a:defRPr sz="600">
                <a:solidFill>
                  <a:schemeClr val="accent3"/>
                </a:solidFill>
              </a:defRPr>
            </a:lvl2pPr>
            <a:lvl3pPr marL="0" indent="0">
              <a:lnSpc>
                <a:spcPct val="100000"/>
              </a:lnSpc>
              <a:spcBef>
                <a:spcPts val="0"/>
              </a:spcBef>
              <a:buFont typeface="Arial" panose="020B0604020202020204" pitchFamily="34" charset="0"/>
              <a:buNone/>
              <a:defRPr sz="600">
                <a:solidFill>
                  <a:schemeClr val="accent3"/>
                </a:solidFill>
              </a:defRPr>
            </a:lvl3pPr>
            <a:lvl4pPr marL="0" indent="0">
              <a:lnSpc>
                <a:spcPct val="100000"/>
              </a:lnSpc>
              <a:spcBef>
                <a:spcPts val="0"/>
              </a:spcBef>
              <a:buNone/>
              <a:defRPr sz="600">
                <a:solidFill>
                  <a:schemeClr val="accent3"/>
                </a:solidFill>
              </a:defRPr>
            </a:lvl4pPr>
            <a:lvl5pPr marL="0" indent="0">
              <a:lnSpc>
                <a:spcPct val="100000"/>
              </a:lnSpc>
              <a:spcBef>
                <a:spcPts val="0"/>
              </a:spcBef>
              <a:buNone/>
              <a:defRPr sz="600">
                <a:solidFill>
                  <a:schemeClr val="accent3"/>
                </a:solidFill>
              </a:defRPr>
            </a:lvl5pPr>
          </a:lstStyle>
          <a:p>
            <a:pPr lvl="0"/>
            <a:r>
              <a:rPr lang="en-US" noProof="0" dirty="0"/>
              <a:t>Placeholder Internal use only</a:t>
            </a:r>
          </a:p>
        </p:txBody>
      </p:sp>
      <p:sp>
        <p:nvSpPr>
          <p:cNvPr id="23" name="Textplatzhalter 12">
            <a:extLst>
              <a:ext uri="{FF2B5EF4-FFF2-40B4-BE49-F238E27FC236}">
                <a16:creationId xmlns:a16="http://schemas.microsoft.com/office/drawing/2014/main" id="{7277914C-02F0-4B59-9F60-F68A80F12E66}"/>
              </a:ext>
            </a:extLst>
          </p:cNvPr>
          <p:cNvSpPr>
            <a:spLocks noGrp="1"/>
          </p:cNvSpPr>
          <p:nvPr>
            <p:ph type="body" sz="quarter" idx="19" hasCustomPrompt="1"/>
          </p:nvPr>
        </p:nvSpPr>
        <p:spPr bwMode="gray">
          <a:xfrm>
            <a:off x="612279" y="726376"/>
            <a:ext cx="634789"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Month 20XX</a:t>
            </a:r>
          </a:p>
        </p:txBody>
      </p:sp>
      <p:sp>
        <p:nvSpPr>
          <p:cNvPr id="26" name="Parallelogramm 25">
            <a:extLst>
              <a:ext uri="{FF2B5EF4-FFF2-40B4-BE49-F238E27FC236}">
                <a16:creationId xmlns:a16="http://schemas.microsoft.com/office/drawing/2014/main" id="{4793A6C0-BE02-4AAC-BB64-2C3B544AA3E2}"/>
              </a:ext>
            </a:extLst>
          </p:cNvPr>
          <p:cNvSpPr/>
          <p:nvPr userDrawn="1"/>
        </p:nvSpPr>
        <p:spPr bwMode="gray">
          <a:xfrm>
            <a:off x="1245393" y="293182"/>
            <a:ext cx="862013" cy="1004888"/>
          </a:xfrm>
          <a:prstGeom prst="parallelogram">
            <a:avLst>
              <a:gd name="adj" fmla="val 98481"/>
            </a:avLst>
          </a:prstGeom>
          <a:solidFill>
            <a:srgbClr val="97999B"/>
          </a:solidFill>
          <a:ln w="6350">
            <a:noFill/>
            <a:miter lim="800000"/>
            <a:headEnd/>
            <a:tailEnd/>
          </a:ln>
        </p:spPr>
        <p:txBody>
          <a:bodyPr lIns="108000" tIns="72000" rIns="108000" bIns="72000" rtlCol="0" anchor="ctr">
            <a:noAutofit/>
          </a:bodyPr>
          <a:lstStyle/>
          <a:p>
            <a:pPr marL="266700" indent="-266700" algn="ctr" defTabSz="963613" eaLnBrk="0" hangingPunct="0">
              <a:spcBef>
                <a:spcPts val="800"/>
              </a:spcBef>
              <a:buClr>
                <a:schemeClr val="tx1"/>
              </a:buClr>
              <a:buFont typeface="Arial" pitchFamily="34" charset="0"/>
              <a:buChar char="—"/>
              <a:tabLst>
                <a:tab pos="1257300" algn="l"/>
              </a:tabLst>
            </a:pPr>
            <a:endParaRPr lang="en-US" sz="1000" dirty="0">
              <a:latin typeface="DWS Sans Light" panose="02010404010101010104" pitchFamily="50" charset="0"/>
              <a:cs typeface="DWS Sans Light" panose="02010404010101010104" pitchFamily="50" charset="0"/>
            </a:endParaRPr>
          </a:p>
        </p:txBody>
      </p:sp>
      <p:sp>
        <p:nvSpPr>
          <p:cNvPr id="30" name="Textplatzhalter 12">
            <a:extLst>
              <a:ext uri="{FF2B5EF4-FFF2-40B4-BE49-F238E27FC236}">
                <a16:creationId xmlns:a16="http://schemas.microsoft.com/office/drawing/2014/main" id="{05856FC8-CE4C-49DA-8819-FDD91233A9C6}"/>
              </a:ext>
            </a:extLst>
          </p:cNvPr>
          <p:cNvSpPr>
            <a:spLocks noGrp="1"/>
          </p:cNvSpPr>
          <p:nvPr>
            <p:ph type="body" sz="quarter" idx="20" hasCustomPrompt="1"/>
          </p:nvPr>
        </p:nvSpPr>
        <p:spPr bwMode="gray">
          <a:xfrm>
            <a:off x="2345519" y="497300"/>
            <a:ext cx="1134926"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Placeholder Contents:</a:t>
            </a:r>
          </a:p>
        </p:txBody>
      </p:sp>
      <p:sp>
        <p:nvSpPr>
          <p:cNvPr id="31" name="Textplatzhalter 12">
            <a:extLst>
              <a:ext uri="{FF2B5EF4-FFF2-40B4-BE49-F238E27FC236}">
                <a16:creationId xmlns:a16="http://schemas.microsoft.com/office/drawing/2014/main" id="{02CB252D-2BD2-468A-9996-BA142368EC8B}"/>
              </a:ext>
            </a:extLst>
          </p:cNvPr>
          <p:cNvSpPr>
            <a:spLocks noGrp="1"/>
          </p:cNvSpPr>
          <p:nvPr>
            <p:ph type="body" sz="quarter" idx="21" hasCustomPrompt="1"/>
          </p:nvPr>
        </p:nvSpPr>
        <p:spPr bwMode="gray">
          <a:xfrm>
            <a:off x="2291314" y="641181"/>
            <a:ext cx="110608"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1</a:t>
            </a:r>
          </a:p>
        </p:txBody>
      </p:sp>
      <p:sp>
        <p:nvSpPr>
          <p:cNvPr id="32" name="Textplatzhalter 12">
            <a:extLst>
              <a:ext uri="{FF2B5EF4-FFF2-40B4-BE49-F238E27FC236}">
                <a16:creationId xmlns:a16="http://schemas.microsoft.com/office/drawing/2014/main" id="{1E3A95D2-7ED9-47AE-9775-EB8F59BA7ACF}"/>
              </a:ext>
            </a:extLst>
          </p:cNvPr>
          <p:cNvSpPr>
            <a:spLocks noGrp="1"/>
          </p:cNvSpPr>
          <p:nvPr>
            <p:ph type="body" sz="quarter" idx="22" hasCustomPrompt="1"/>
          </p:nvPr>
        </p:nvSpPr>
        <p:spPr bwMode="gray">
          <a:xfrm>
            <a:off x="2174630" y="785062"/>
            <a:ext cx="128588" cy="138499"/>
          </a:xfrm>
        </p:spPr>
        <p:txBody>
          <a:bodyPr wrap="none" anchor="ctr">
            <a:no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2</a:t>
            </a:r>
          </a:p>
        </p:txBody>
      </p:sp>
      <p:sp>
        <p:nvSpPr>
          <p:cNvPr id="33" name="Textplatzhalter 12">
            <a:extLst>
              <a:ext uri="{FF2B5EF4-FFF2-40B4-BE49-F238E27FC236}">
                <a16:creationId xmlns:a16="http://schemas.microsoft.com/office/drawing/2014/main" id="{9E0DCCC2-18D1-4500-B536-6A1B653E76C2}"/>
              </a:ext>
            </a:extLst>
          </p:cNvPr>
          <p:cNvSpPr>
            <a:spLocks noGrp="1"/>
          </p:cNvSpPr>
          <p:nvPr>
            <p:ph type="body" sz="quarter" idx="23" hasCustomPrompt="1"/>
          </p:nvPr>
        </p:nvSpPr>
        <p:spPr bwMode="gray">
          <a:xfrm>
            <a:off x="2058295" y="928943"/>
            <a:ext cx="131446"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3</a:t>
            </a:r>
          </a:p>
        </p:txBody>
      </p:sp>
      <p:sp>
        <p:nvSpPr>
          <p:cNvPr id="34" name="Textplatzhalter 12">
            <a:extLst>
              <a:ext uri="{FF2B5EF4-FFF2-40B4-BE49-F238E27FC236}">
                <a16:creationId xmlns:a16="http://schemas.microsoft.com/office/drawing/2014/main" id="{070B562A-D92A-4BA8-8307-62CB2C3BF291}"/>
              </a:ext>
            </a:extLst>
          </p:cNvPr>
          <p:cNvSpPr>
            <a:spLocks noGrp="1"/>
          </p:cNvSpPr>
          <p:nvPr>
            <p:ph type="body" sz="quarter" idx="24" hasCustomPrompt="1"/>
          </p:nvPr>
        </p:nvSpPr>
        <p:spPr bwMode="gray">
          <a:xfrm>
            <a:off x="1941960" y="1072824"/>
            <a:ext cx="134652"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4</a:t>
            </a:r>
          </a:p>
        </p:txBody>
      </p:sp>
      <p:sp>
        <p:nvSpPr>
          <p:cNvPr id="36" name="Textplatzhalter 12">
            <a:extLst>
              <a:ext uri="{FF2B5EF4-FFF2-40B4-BE49-F238E27FC236}">
                <a16:creationId xmlns:a16="http://schemas.microsoft.com/office/drawing/2014/main" id="{EC0EF89B-1985-43EE-B7DB-20319778334F}"/>
              </a:ext>
            </a:extLst>
          </p:cNvPr>
          <p:cNvSpPr>
            <a:spLocks noGrp="1"/>
          </p:cNvSpPr>
          <p:nvPr>
            <p:ph type="body" sz="quarter" idx="26" hasCustomPrompt="1"/>
          </p:nvPr>
        </p:nvSpPr>
        <p:spPr bwMode="gray">
          <a:xfrm>
            <a:off x="2476564" y="641181"/>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37" name="Textplatzhalter 12">
            <a:extLst>
              <a:ext uri="{FF2B5EF4-FFF2-40B4-BE49-F238E27FC236}">
                <a16:creationId xmlns:a16="http://schemas.microsoft.com/office/drawing/2014/main" id="{86262E24-4DCD-46BC-9291-F22D3FA1E8DA}"/>
              </a:ext>
            </a:extLst>
          </p:cNvPr>
          <p:cNvSpPr>
            <a:spLocks noGrp="1"/>
          </p:cNvSpPr>
          <p:nvPr>
            <p:ph type="body" sz="quarter" idx="27" hasCustomPrompt="1"/>
          </p:nvPr>
        </p:nvSpPr>
        <p:spPr bwMode="gray">
          <a:xfrm>
            <a:off x="2359880" y="785062"/>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38" name="Textplatzhalter 12">
            <a:extLst>
              <a:ext uri="{FF2B5EF4-FFF2-40B4-BE49-F238E27FC236}">
                <a16:creationId xmlns:a16="http://schemas.microsoft.com/office/drawing/2014/main" id="{9469E5F3-CE59-40D1-A516-216329B3A1AF}"/>
              </a:ext>
            </a:extLst>
          </p:cNvPr>
          <p:cNvSpPr>
            <a:spLocks noGrp="1"/>
          </p:cNvSpPr>
          <p:nvPr>
            <p:ph type="body" sz="quarter" idx="28" hasCustomPrompt="1"/>
          </p:nvPr>
        </p:nvSpPr>
        <p:spPr bwMode="gray">
          <a:xfrm>
            <a:off x="2243545" y="928943"/>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39" name="Textplatzhalter 12">
            <a:extLst>
              <a:ext uri="{FF2B5EF4-FFF2-40B4-BE49-F238E27FC236}">
                <a16:creationId xmlns:a16="http://schemas.microsoft.com/office/drawing/2014/main" id="{BDCFA413-6E54-4AAE-8F29-B67DFA6E06E4}"/>
              </a:ext>
            </a:extLst>
          </p:cNvPr>
          <p:cNvSpPr>
            <a:spLocks noGrp="1"/>
          </p:cNvSpPr>
          <p:nvPr>
            <p:ph type="body" sz="quarter" idx="29" hasCustomPrompt="1"/>
          </p:nvPr>
        </p:nvSpPr>
        <p:spPr bwMode="gray">
          <a:xfrm>
            <a:off x="2127210" y="1072824"/>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latin typeface="DWS Sans Light" panose="02010404010101010104" pitchFamily="50" charset="0"/>
                <a:cs typeface="DWS Sans Light" panose="02010404010101010104" pitchFamily="50" charset="0"/>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7" name="Textplatzhalter 6"/>
          <p:cNvSpPr>
            <a:spLocks noGrp="1"/>
          </p:cNvSpPr>
          <p:nvPr>
            <p:ph type="body" sz="quarter" idx="40"/>
          </p:nvPr>
        </p:nvSpPr>
        <p:spPr>
          <a:xfrm>
            <a:off x="612775" y="10233025"/>
            <a:ext cx="6335713" cy="153988"/>
          </a:xfrm>
        </p:spPr>
        <p:txBody>
          <a:bodyPr>
            <a:noAutofit/>
          </a:bodyPr>
          <a:lstStyle>
            <a:lvl1pPr>
              <a:defRPr sz="700" b="0">
                <a:solidFill>
                  <a:schemeClr val="accent3"/>
                </a:solidFill>
                <a:latin typeface="DWS Sans Light" panose="02010404010101010104" pitchFamily="50" charset="0"/>
                <a:cs typeface="DWS Sans Light" panose="02010404010101010104" pitchFamily="50" charset="0"/>
              </a:defRPr>
            </a:lvl1pPr>
            <a:lvl2pPr>
              <a:defRPr sz="700" b="0">
                <a:solidFill>
                  <a:schemeClr val="accent3"/>
                </a:solidFill>
                <a:latin typeface="DWS Sans Light" panose="02010404010101010104" pitchFamily="50" charset="0"/>
                <a:cs typeface="DWS Sans Light" panose="02010404010101010104" pitchFamily="50" charset="0"/>
              </a:defRPr>
            </a:lvl2pPr>
            <a:lvl3pPr>
              <a:defRPr sz="700" b="0">
                <a:solidFill>
                  <a:schemeClr val="accent3"/>
                </a:solidFill>
                <a:latin typeface="DWS Sans Light" panose="02010404010101010104" pitchFamily="50" charset="0"/>
                <a:cs typeface="DWS Sans Light" panose="02010404010101010104" pitchFamily="50" charset="0"/>
              </a:defRPr>
            </a:lvl3pPr>
            <a:lvl4pPr>
              <a:defRPr sz="700" b="0">
                <a:solidFill>
                  <a:schemeClr val="accent3"/>
                </a:solidFill>
                <a:latin typeface="DWS Sans Light" panose="02010404010101010104" pitchFamily="50" charset="0"/>
                <a:cs typeface="DWS Sans Light" panose="02010404010101010104" pitchFamily="50" charset="0"/>
              </a:defRPr>
            </a:lvl4pPr>
            <a:lvl5pPr>
              <a:defRPr sz="700" b="0">
                <a:solidFill>
                  <a:schemeClr val="accent3"/>
                </a:solidFill>
                <a:latin typeface="DWS Sans Light" panose="02010404010101010104" pitchFamily="50" charset="0"/>
                <a:cs typeface="DWS Sans Light" panose="02010404010101010104" pitchFamily="50" charset="0"/>
              </a:defRPr>
            </a:lvl5pPr>
          </a:lstStyle>
          <a:p>
            <a:pPr lvl="0"/>
            <a:r>
              <a:rPr lang="de-DE" dirty="0"/>
              <a:t>Textmasterformat bearbeiten</a:t>
            </a:r>
          </a:p>
        </p:txBody>
      </p:sp>
      <p:sp>
        <p:nvSpPr>
          <p:cNvPr id="48" name="Textfeld 47"/>
          <p:cNvSpPr txBox="1"/>
          <p:nvPr userDrawn="1"/>
        </p:nvSpPr>
        <p:spPr bwMode="ltGray">
          <a:xfrm>
            <a:off x="615181" y="5575424"/>
            <a:ext cx="6336000" cy="228396"/>
          </a:xfrm>
          <a:prstGeom prst="rect">
            <a:avLst/>
          </a:prstGeom>
          <a:noFill/>
          <a:ln w="6350">
            <a:noFill/>
            <a:miter lim="800000"/>
            <a:headEnd/>
            <a:tailEnd/>
          </a:ln>
        </p:spPr>
        <p:txBody>
          <a:bodyPr wrap="square" lIns="0" tIns="0" rIns="0" bIns="0" rtlCol="0" anchor="t" anchorCtr="0">
            <a:spAutoFit/>
          </a:bodyPr>
          <a:lstStyle/>
          <a:p>
            <a:pPr eaLnBrk="0" hangingPunct="0">
              <a:lnSpc>
                <a:spcPct val="106000"/>
              </a:lnSpc>
              <a:spcBef>
                <a:spcPts val="200"/>
              </a:spcBef>
            </a:pPr>
            <a:r>
              <a:rPr lang="de-DE" sz="1400" baseline="0" dirty="0">
                <a:solidFill>
                  <a:schemeClr val="bg2"/>
                </a:solidFill>
                <a:latin typeface="DWS Sans Light" panose="02010404010101010104" pitchFamily="50" charset="0"/>
                <a:cs typeface="DWS Sans Light" panose="02010404010101010104" pitchFamily="50" charset="0"/>
              </a:rPr>
              <a:t>Die Top-Trends, die die Kapitalmärkte in der nächsten Zeit prägen werden </a:t>
            </a:r>
            <a:endParaRPr lang="de-DE" sz="1400" dirty="0">
              <a:solidFill>
                <a:schemeClr val="bg2"/>
              </a:solidFill>
              <a:latin typeface="DWS Sans Light" panose="02010404010101010104" pitchFamily="50" charset="0"/>
              <a:cs typeface="DWS Sans Light" panose="02010404010101010104" pitchFamily="50" charset="0"/>
            </a:endParaRPr>
          </a:p>
        </p:txBody>
      </p:sp>
    </p:spTree>
    <p:extLst>
      <p:ext uri="{BB962C8B-B14F-4D97-AF65-F5344CB8AC3E}">
        <p14:creationId xmlns:p14="http://schemas.microsoft.com/office/powerpoint/2010/main" val="1894766002"/>
      </p:ext>
    </p:extLst>
  </p:cSld>
  <p:clrMapOvr>
    <a:masterClrMapping/>
  </p:clrMapOvr>
  <p:extLst>
    <p:ext uri="{DCECCB84-F9BA-43D5-87BE-67443E8EF086}">
      <p15:sldGuideLst xmlns:p15="http://schemas.microsoft.com/office/powerpoint/2012/main">
        <p15:guide id="1" orient="horz" pos="3504" userDrawn="1">
          <p15:clr>
            <a:srgbClr val="FBAE40"/>
          </p15:clr>
        </p15:guide>
        <p15:guide id="2" orient="horz" pos="6543">
          <p15:clr>
            <a:srgbClr val="FBAE40"/>
          </p15:clr>
        </p15:guide>
        <p15:guide id="3" pos="2404" userDrawn="1">
          <p15:clr>
            <a:srgbClr val="FBAE40"/>
          </p15:clr>
        </p15:guide>
        <p15:guide id="4" pos="2336"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Markt &amp; Makro II">
    <p:spTree>
      <p:nvGrpSpPr>
        <p:cNvPr id="1" name=""/>
        <p:cNvGrpSpPr/>
        <p:nvPr/>
      </p:nvGrpSpPr>
      <p:grpSpPr>
        <a:xfrm>
          <a:off x="0" y="0"/>
          <a:ext cx="0" cy="0"/>
          <a:chOff x="0" y="0"/>
          <a:chExt cx="0" cy="0"/>
        </a:xfrm>
      </p:grpSpPr>
      <p:graphicFrame>
        <p:nvGraphicFramePr>
          <p:cNvPr id="20" name="Objekt 19" hidden="1">
            <a:extLst>
              <a:ext uri="{FF2B5EF4-FFF2-40B4-BE49-F238E27FC236}">
                <a16:creationId xmlns:a16="http://schemas.microsoft.com/office/drawing/2014/main" id="{6891F096-6043-4BF9-8371-D1A126016511}"/>
              </a:ext>
            </a:extLst>
          </p:cNvPr>
          <p:cNvGraphicFramePr>
            <a:graphicFrameLocks noChangeAspect="1"/>
          </p:cNvGraphicFramePr>
          <p:nvPr userDrawn="1">
            <p:custDataLst>
              <p:tags r:id="rId1"/>
            </p:custDataLst>
            <p:extLst>
              <p:ext uri="{D42A27DB-BD31-4B8C-83A1-F6EECF244321}">
                <p14:modId xmlns:p14="http://schemas.microsoft.com/office/powerpoint/2010/main" val="1792878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0" name="Objekt 19" hidden="1">
                        <a:extLst>
                          <a:ext uri="{FF2B5EF4-FFF2-40B4-BE49-F238E27FC236}">
                            <a16:creationId xmlns:a16="http://schemas.microsoft.com/office/drawing/2014/main" id="{6891F096-6043-4BF9-8371-D1A1260165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hteck 18" hidden="1">
            <a:extLst>
              <a:ext uri="{FF2B5EF4-FFF2-40B4-BE49-F238E27FC236}">
                <a16:creationId xmlns:a16="http://schemas.microsoft.com/office/drawing/2014/main" id="{6DEFFC93-5A73-4669-9294-867CE1AD2CF7}"/>
              </a:ext>
            </a:extLst>
          </p:cNvPr>
          <p:cNvSpPr/>
          <p:nvPr userDrawn="1">
            <p:custDataLst>
              <p:tags r:id="rId2"/>
            </p:custDataLst>
          </p:nvPr>
        </p:nvSpPr>
        <p:spPr bwMode="auto">
          <a:xfrm>
            <a:off x="0" y="0"/>
            <a:ext cx="158750" cy="158750"/>
          </a:xfrm>
          <a:prstGeom prst="rect">
            <a:avLst/>
          </a:prstGeom>
          <a:solidFill>
            <a:srgbClr val="E6EAEE"/>
          </a:solidFill>
          <a:ln w="6350">
            <a:solidFill>
              <a:srgbClr val="E6EAEE"/>
            </a:solidFill>
            <a:miter lim="800000"/>
            <a:headEnd/>
            <a:tailEnd/>
          </a:ln>
        </p:spPr>
        <p:txBody>
          <a:bodyPr vert="horz" wrap="none" lIns="0" tIns="0" rIns="0" bIns="0" numCol="1" spcCol="0" rtlCol="0" anchor="ctr" anchorCtr="0">
            <a:noAutofit/>
          </a:bodyPr>
          <a:lstStyle/>
          <a:p>
            <a:pPr marL="0" lvl="0" indent="0" algn="ctr" defTabSz="963613" eaLnBrk="0" hangingPunct="0">
              <a:spcBef>
                <a:spcPts val="800"/>
              </a:spcBef>
              <a:buClr>
                <a:schemeClr val="tx1"/>
              </a:buClr>
              <a:buFontTx/>
              <a:buNone/>
              <a:tabLst>
                <a:tab pos="1257300" algn="l"/>
              </a:tabLst>
            </a:pPr>
            <a:endParaRPr lang="en-US" sz="1600" b="0" i="0" baseline="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el 1">
            <a:extLst>
              <a:ext uri="{FF2B5EF4-FFF2-40B4-BE49-F238E27FC236}">
                <a16:creationId xmlns:a16="http://schemas.microsoft.com/office/drawing/2014/main" id="{AB4C2818-3ED9-40FD-A530-B3A8B386744C}"/>
              </a:ext>
            </a:extLst>
          </p:cNvPr>
          <p:cNvSpPr>
            <a:spLocks noGrp="1"/>
          </p:cNvSpPr>
          <p:nvPr>
            <p:ph type="title" hasCustomPrompt="1"/>
          </p:nvPr>
        </p:nvSpPr>
        <p:spPr bwMode="gray">
          <a:xfrm>
            <a:off x="612775" y="2779673"/>
            <a:ext cx="6335713" cy="233910"/>
          </a:xfrm>
        </p:spPr>
        <p:txBody>
          <a:bodyPr/>
          <a:lstStyle>
            <a:lvl1pPr>
              <a:defRPr sz="1600" b="0">
                <a:solidFill>
                  <a:schemeClr val="bg2"/>
                </a:solidFill>
                <a:latin typeface="DWS Sans Light" panose="02010404010101010104" pitchFamily="50" charset="0"/>
                <a:cs typeface="DWS Sans Light" panose="02010404010101010104" pitchFamily="50" charset="0"/>
              </a:defRPr>
            </a:lvl1pPr>
          </a:lstStyle>
          <a:p>
            <a:r>
              <a:rPr lang="en-US" dirty="0"/>
              <a:t>Placeholder title</a:t>
            </a:r>
            <a:endParaRPr lang="de-DE" dirty="0"/>
          </a:p>
        </p:txBody>
      </p:sp>
      <p:sp>
        <p:nvSpPr>
          <p:cNvPr id="25" name="Textplatzhalter 12">
            <a:extLst>
              <a:ext uri="{FF2B5EF4-FFF2-40B4-BE49-F238E27FC236}">
                <a16:creationId xmlns:a16="http://schemas.microsoft.com/office/drawing/2014/main" id="{CDA5A2BA-F61B-41BF-B79F-B5BB15BD5D3E}"/>
              </a:ext>
            </a:extLst>
          </p:cNvPr>
          <p:cNvSpPr>
            <a:spLocks noGrp="1"/>
          </p:cNvSpPr>
          <p:nvPr>
            <p:ph type="body" sz="quarter" idx="15" hasCustomPrompt="1"/>
          </p:nvPr>
        </p:nvSpPr>
        <p:spPr bwMode="gray">
          <a:xfrm>
            <a:off x="612278" y="2502384"/>
            <a:ext cx="173124" cy="169277"/>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1100" b="0">
                <a:solidFill>
                  <a:schemeClr val="accent2"/>
                </a:solidFill>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X</a:t>
            </a:r>
          </a:p>
        </p:txBody>
      </p:sp>
      <p:sp>
        <p:nvSpPr>
          <p:cNvPr id="29" name="Textplatzhalter 12">
            <a:extLst>
              <a:ext uri="{FF2B5EF4-FFF2-40B4-BE49-F238E27FC236}">
                <a16:creationId xmlns:a16="http://schemas.microsoft.com/office/drawing/2014/main" id="{EEF72869-3591-49DF-B605-493E2787BF59}"/>
              </a:ext>
            </a:extLst>
          </p:cNvPr>
          <p:cNvSpPr>
            <a:spLocks noGrp="1"/>
          </p:cNvSpPr>
          <p:nvPr>
            <p:ph type="body" sz="quarter" idx="16" hasCustomPrompt="1"/>
          </p:nvPr>
        </p:nvSpPr>
        <p:spPr bwMode="gray">
          <a:xfrm>
            <a:off x="828303" y="2502384"/>
            <a:ext cx="6120680" cy="169277"/>
          </a:xfrm>
        </p:spPr>
        <p:txBody>
          <a:bodyPr wrap="squar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1100" b="0">
                <a:solidFill>
                  <a:schemeClr val="accent3"/>
                </a:solidFill>
                <a:latin typeface="DWS Slab Light" panose="02010404010101010104" pitchFamily="50" charset="0"/>
                <a:cs typeface="DWS Slab Light" panose="02010404010101010104" pitchFamily="50" charset="0"/>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Placeholder Chapter</a:t>
            </a:r>
          </a:p>
        </p:txBody>
      </p:sp>
      <p:pic>
        <p:nvPicPr>
          <p:cNvPr id="15" name="Grafik 14">
            <a:extLst>
              <a:ext uri="{FF2B5EF4-FFF2-40B4-BE49-F238E27FC236}">
                <a16:creationId xmlns:a16="http://schemas.microsoft.com/office/drawing/2014/main" id="{09D1D295-5291-4D0F-8A41-61B89D43BA7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gray">
          <a:xfrm>
            <a:off x="5222886" y="296648"/>
            <a:ext cx="2009763" cy="1005212"/>
          </a:xfrm>
          <a:prstGeom prst="rect">
            <a:avLst/>
          </a:prstGeom>
        </p:spPr>
      </p:pic>
      <p:sp>
        <p:nvSpPr>
          <p:cNvPr id="13" name="Textplatzhalter 12">
            <a:extLst>
              <a:ext uri="{FF2B5EF4-FFF2-40B4-BE49-F238E27FC236}">
                <a16:creationId xmlns:a16="http://schemas.microsoft.com/office/drawing/2014/main" id="{14E52239-0B41-4EF5-8B95-1BFC25885969}"/>
              </a:ext>
            </a:extLst>
          </p:cNvPr>
          <p:cNvSpPr>
            <a:spLocks noGrp="1"/>
          </p:cNvSpPr>
          <p:nvPr>
            <p:ph type="body" sz="quarter" idx="12" hasCustomPrompt="1"/>
          </p:nvPr>
        </p:nvSpPr>
        <p:spPr bwMode="gray">
          <a:xfrm>
            <a:off x="612278" y="3141780"/>
            <a:ext cx="3096121" cy="836768"/>
          </a:xfrm>
        </p:spPr>
        <p:txBody>
          <a:bodyPr wrap="square">
            <a:spAutoFit/>
          </a:bodyPr>
          <a:lstStyle>
            <a:lvl1pPr>
              <a:defRPr sz="1000">
                <a:solidFill>
                  <a:schemeClr val="accent2"/>
                </a:solidFill>
              </a:defRPr>
            </a:lvl1pPr>
            <a:lvl2pPr marL="0" marR="0" indent="0" algn="l" defTabSz="914400" rtl="0" eaLnBrk="1" fontAlgn="base" latinLnBrk="0" hangingPunct="1">
              <a:lnSpc>
                <a:spcPct val="106000"/>
              </a:lnSpc>
              <a:spcBef>
                <a:spcPts val="200"/>
              </a:spcBef>
              <a:spcAft>
                <a:spcPts val="0"/>
              </a:spcAft>
              <a:buClrTx/>
              <a:buSzTx/>
              <a:buFont typeface="DWS Sans Light" panose="02010404010101010104" pitchFamily="50" charset="0"/>
              <a:buNone/>
              <a:tabLst/>
              <a:defRPr sz="900">
                <a:solidFill>
                  <a:schemeClr val="bg2"/>
                </a:solidFill>
                <a:latin typeface="DWS Sans Light" panose="02010404010101010104" pitchFamily="50" charset="0"/>
                <a:cs typeface="DWS Sans Light" panose="02010404010101010104" pitchFamily="50" charset="0"/>
              </a:defRPr>
            </a:lvl2pPr>
            <a:lvl3pPr>
              <a:defRPr sz="1000"/>
            </a:lvl3pPr>
            <a:lvl4pPr>
              <a:defRPr sz="1000"/>
            </a:lvl4pPr>
            <a:lvl5pPr marL="0" indent="0">
              <a:buNone/>
              <a:defRPr sz="1200">
                <a:solidFill>
                  <a:schemeClr val="accent3"/>
                </a:solidFill>
              </a:defRPr>
            </a:lvl5pPr>
          </a:lstStyle>
          <a:p>
            <a:pPr lvl="1"/>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p:txBody>
      </p:sp>
      <p:sp>
        <p:nvSpPr>
          <p:cNvPr id="14" name="Textplatzhalter 12">
            <a:extLst>
              <a:ext uri="{FF2B5EF4-FFF2-40B4-BE49-F238E27FC236}">
                <a16:creationId xmlns:a16="http://schemas.microsoft.com/office/drawing/2014/main" id="{BB8FA2F0-290D-4B82-B6F5-D3D9F847C9FA}"/>
              </a:ext>
            </a:extLst>
          </p:cNvPr>
          <p:cNvSpPr>
            <a:spLocks noGrp="1"/>
          </p:cNvSpPr>
          <p:nvPr>
            <p:ph type="body" sz="quarter" idx="13" hasCustomPrompt="1"/>
          </p:nvPr>
        </p:nvSpPr>
        <p:spPr bwMode="gray">
          <a:xfrm>
            <a:off x="3852639" y="3141780"/>
            <a:ext cx="3096121" cy="836768"/>
          </a:xfrm>
        </p:spPr>
        <p:txBody>
          <a:bodyPr wrap="square">
            <a:spAutoFit/>
          </a:bodyPr>
          <a:lstStyle>
            <a:lvl1pPr>
              <a:defRPr sz="1000"/>
            </a:lvl1pPr>
            <a:lvl2pPr marL="0" marR="0" indent="0" algn="l" defTabSz="914400" rtl="0" eaLnBrk="1" fontAlgn="base" latinLnBrk="0" hangingPunct="1">
              <a:lnSpc>
                <a:spcPct val="106000"/>
              </a:lnSpc>
              <a:spcBef>
                <a:spcPts val="200"/>
              </a:spcBef>
              <a:spcAft>
                <a:spcPts val="0"/>
              </a:spcAft>
              <a:buClrTx/>
              <a:buSzTx/>
              <a:buFontTx/>
              <a:buNone/>
              <a:tabLst/>
              <a:defRPr sz="900">
                <a:latin typeface="DWS Sans Light" panose="02010404010101010104" pitchFamily="50" charset="0"/>
                <a:cs typeface="DWS Sans Light" panose="02010404010101010104" pitchFamily="50" charset="0"/>
              </a:defRPr>
            </a:lvl2pPr>
            <a:lvl3pPr>
              <a:defRPr sz="1000"/>
            </a:lvl3pPr>
            <a:lvl4pPr>
              <a:defRPr sz="1000"/>
            </a:lvl4pPr>
            <a:lvl5pPr>
              <a:defRPr sz="1000"/>
            </a:lvl5pPr>
          </a:lstStyle>
          <a:p>
            <a:pPr lvl="1"/>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p:txBody>
      </p:sp>
      <p:cxnSp>
        <p:nvCxnSpPr>
          <p:cNvPr id="8" name="Gerader Verbinder 7">
            <a:extLst>
              <a:ext uri="{FF2B5EF4-FFF2-40B4-BE49-F238E27FC236}">
                <a16:creationId xmlns:a16="http://schemas.microsoft.com/office/drawing/2014/main" id="{D00B0EB4-9029-4A35-8BB1-D5C6115A3D21}"/>
              </a:ext>
            </a:extLst>
          </p:cNvPr>
          <p:cNvCxnSpPr/>
          <p:nvPr userDrawn="1"/>
        </p:nvCxnSpPr>
        <p:spPr bwMode="gray">
          <a:xfrm>
            <a:off x="612631" y="1638288"/>
            <a:ext cx="6336000" cy="0"/>
          </a:xfrm>
          <a:prstGeom prst="line">
            <a:avLst/>
          </a:prstGeom>
          <a:noFill/>
          <a:ln w="12700">
            <a:solidFill>
              <a:srgbClr val="97999B"/>
            </a:solidFill>
            <a:round/>
            <a:headEnd/>
            <a:tailEnd/>
          </a:ln>
        </p:spPr>
      </p:cxnSp>
      <p:cxnSp>
        <p:nvCxnSpPr>
          <p:cNvPr id="17" name="Gerader Verbinder 16">
            <a:extLst>
              <a:ext uri="{FF2B5EF4-FFF2-40B4-BE49-F238E27FC236}">
                <a16:creationId xmlns:a16="http://schemas.microsoft.com/office/drawing/2014/main" id="{1B92B282-B8C4-4596-B3F2-60D2180C2BEF}"/>
              </a:ext>
            </a:extLst>
          </p:cNvPr>
          <p:cNvCxnSpPr/>
          <p:nvPr userDrawn="1"/>
        </p:nvCxnSpPr>
        <p:spPr bwMode="gray">
          <a:xfrm>
            <a:off x="612631" y="1566280"/>
            <a:ext cx="6336000" cy="0"/>
          </a:xfrm>
          <a:prstGeom prst="line">
            <a:avLst/>
          </a:prstGeom>
          <a:noFill/>
          <a:ln w="12700">
            <a:solidFill>
              <a:srgbClr val="97999B"/>
            </a:solidFill>
            <a:round/>
            <a:headEnd/>
            <a:tailEnd/>
          </a:ln>
        </p:spPr>
      </p:cxnSp>
      <p:sp>
        <p:nvSpPr>
          <p:cNvPr id="18" name="Textplatzhalter 12">
            <a:extLst>
              <a:ext uri="{FF2B5EF4-FFF2-40B4-BE49-F238E27FC236}">
                <a16:creationId xmlns:a16="http://schemas.microsoft.com/office/drawing/2014/main" id="{5EABA8C7-D407-4653-B1C4-E460145CA1D6}"/>
              </a:ext>
            </a:extLst>
          </p:cNvPr>
          <p:cNvSpPr>
            <a:spLocks noGrp="1"/>
          </p:cNvSpPr>
          <p:nvPr>
            <p:ph type="body" sz="quarter" idx="17" hasCustomPrompt="1"/>
          </p:nvPr>
        </p:nvSpPr>
        <p:spPr bwMode="gray">
          <a:xfrm>
            <a:off x="612775" y="1854312"/>
            <a:ext cx="6336208" cy="492443"/>
          </a:xfrm>
        </p:spPr>
        <p:txBody>
          <a:bodyPr wrap="squar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3200" b="0">
                <a:solidFill>
                  <a:schemeClr val="accent2"/>
                </a:solidFill>
                <a:latin typeface="DWS Slab Light" panose="02010404010101010104" pitchFamily="50" charset="0"/>
                <a:cs typeface="DWS Slab Light" panose="02010404010101010104" pitchFamily="50" charset="0"/>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Placeholder Header</a:t>
            </a:r>
          </a:p>
        </p:txBody>
      </p:sp>
      <p:sp>
        <p:nvSpPr>
          <p:cNvPr id="22" name="Textplatzhalter 12">
            <a:extLst>
              <a:ext uri="{FF2B5EF4-FFF2-40B4-BE49-F238E27FC236}">
                <a16:creationId xmlns:a16="http://schemas.microsoft.com/office/drawing/2014/main" id="{8FF72595-6360-45DD-94FA-B02E9D2E6138}"/>
              </a:ext>
            </a:extLst>
          </p:cNvPr>
          <p:cNvSpPr>
            <a:spLocks noGrp="1"/>
          </p:cNvSpPr>
          <p:nvPr>
            <p:ph type="body" sz="quarter" idx="18" hasCustomPrompt="1"/>
          </p:nvPr>
        </p:nvSpPr>
        <p:spPr bwMode="gray">
          <a:xfrm>
            <a:off x="612775" y="1689971"/>
            <a:ext cx="6336208" cy="92333"/>
          </a:xfrm>
        </p:spPr>
        <p:txBody>
          <a:bodyPr wrap="square" anchor="t">
            <a:spAutoFit/>
          </a:bodyPr>
          <a:lstStyle>
            <a:lvl1pPr marL="0" marR="0" indent="0" algn="r" defTabSz="914400" rtl="0" eaLnBrk="1" fontAlgn="base" latinLnBrk="0" hangingPunct="1">
              <a:lnSpc>
                <a:spcPct val="100000"/>
              </a:lnSpc>
              <a:spcBef>
                <a:spcPts val="0"/>
              </a:spcBef>
              <a:spcAft>
                <a:spcPts val="0"/>
              </a:spcAft>
              <a:buClrTx/>
              <a:buSzTx/>
              <a:buFont typeface="Arial" panose="020B0604020202020204" pitchFamily="34" charset="0"/>
              <a:buNone/>
              <a:tabLst/>
              <a:defRPr sz="600" b="0">
                <a:solidFill>
                  <a:schemeClr val="accent3"/>
                </a:solidFill>
              </a:defRPr>
            </a:lvl1pPr>
            <a:lvl2pPr marL="0" indent="0">
              <a:lnSpc>
                <a:spcPct val="100000"/>
              </a:lnSpc>
              <a:spcBef>
                <a:spcPts val="0"/>
              </a:spcBef>
              <a:buFont typeface="Arial" panose="020B0604020202020204" pitchFamily="34" charset="0"/>
              <a:buNone/>
              <a:defRPr sz="600">
                <a:solidFill>
                  <a:schemeClr val="accent3"/>
                </a:solidFill>
              </a:defRPr>
            </a:lvl2pPr>
            <a:lvl3pPr marL="0" indent="0">
              <a:lnSpc>
                <a:spcPct val="100000"/>
              </a:lnSpc>
              <a:spcBef>
                <a:spcPts val="0"/>
              </a:spcBef>
              <a:buFont typeface="Arial" panose="020B0604020202020204" pitchFamily="34" charset="0"/>
              <a:buNone/>
              <a:defRPr sz="600">
                <a:solidFill>
                  <a:schemeClr val="accent3"/>
                </a:solidFill>
              </a:defRPr>
            </a:lvl3pPr>
            <a:lvl4pPr marL="0" indent="0">
              <a:lnSpc>
                <a:spcPct val="100000"/>
              </a:lnSpc>
              <a:spcBef>
                <a:spcPts val="0"/>
              </a:spcBef>
              <a:buNone/>
              <a:defRPr sz="600">
                <a:solidFill>
                  <a:schemeClr val="accent3"/>
                </a:solidFill>
              </a:defRPr>
            </a:lvl4pPr>
            <a:lvl5pPr marL="0" indent="0">
              <a:lnSpc>
                <a:spcPct val="100000"/>
              </a:lnSpc>
              <a:spcBef>
                <a:spcPts val="0"/>
              </a:spcBef>
              <a:buNone/>
              <a:defRPr sz="600">
                <a:solidFill>
                  <a:schemeClr val="accent3"/>
                </a:solidFill>
              </a:defRPr>
            </a:lvl5pPr>
          </a:lstStyle>
          <a:p>
            <a:pPr lvl="0"/>
            <a:r>
              <a:rPr lang="en-US" noProof="0" dirty="0"/>
              <a:t>Placeholder Internal use only</a:t>
            </a:r>
          </a:p>
        </p:txBody>
      </p:sp>
      <p:sp>
        <p:nvSpPr>
          <p:cNvPr id="7" name="Textplatzhalter 6"/>
          <p:cNvSpPr>
            <a:spLocks noGrp="1"/>
          </p:cNvSpPr>
          <p:nvPr>
            <p:ph type="body" sz="quarter" idx="40"/>
          </p:nvPr>
        </p:nvSpPr>
        <p:spPr>
          <a:xfrm>
            <a:off x="612775" y="10233025"/>
            <a:ext cx="6335713" cy="153988"/>
          </a:xfrm>
        </p:spPr>
        <p:txBody>
          <a:bodyPr>
            <a:noAutofit/>
          </a:bodyPr>
          <a:lstStyle>
            <a:lvl1pPr>
              <a:defRPr sz="700" b="0">
                <a:solidFill>
                  <a:schemeClr val="accent3"/>
                </a:solidFill>
                <a:latin typeface="DWS Sans Light" panose="02010404010101010104" pitchFamily="50" charset="0"/>
                <a:cs typeface="DWS Sans Light" panose="02010404010101010104" pitchFamily="50" charset="0"/>
              </a:defRPr>
            </a:lvl1pPr>
            <a:lvl2pPr>
              <a:defRPr sz="700" b="0">
                <a:solidFill>
                  <a:schemeClr val="accent3"/>
                </a:solidFill>
                <a:latin typeface="DWS Sans Light" panose="02010404010101010104" pitchFamily="50" charset="0"/>
                <a:cs typeface="DWS Sans Light" panose="02010404010101010104" pitchFamily="50" charset="0"/>
              </a:defRPr>
            </a:lvl2pPr>
            <a:lvl3pPr>
              <a:defRPr sz="700" b="0">
                <a:solidFill>
                  <a:schemeClr val="accent3"/>
                </a:solidFill>
                <a:latin typeface="DWS Sans Light" panose="02010404010101010104" pitchFamily="50" charset="0"/>
                <a:cs typeface="DWS Sans Light" panose="02010404010101010104" pitchFamily="50" charset="0"/>
              </a:defRPr>
            </a:lvl3pPr>
            <a:lvl4pPr>
              <a:defRPr sz="700" b="0">
                <a:solidFill>
                  <a:schemeClr val="accent3"/>
                </a:solidFill>
                <a:latin typeface="DWS Sans Light" panose="02010404010101010104" pitchFamily="50" charset="0"/>
                <a:cs typeface="DWS Sans Light" panose="02010404010101010104" pitchFamily="50" charset="0"/>
              </a:defRPr>
            </a:lvl4pPr>
            <a:lvl5pPr>
              <a:defRPr sz="700" b="0">
                <a:solidFill>
                  <a:schemeClr val="accent3"/>
                </a:solidFill>
                <a:latin typeface="DWS Sans Light" panose="02010404010101010104" pitchFamily="50" charset="0"/>
                <a:cs typeface="DWS Sans Light" panose="02010404010101010104" pitchFamily="50" charset="0"/>
              </a:defRPr>
            </a:lvl5pPr>
          </a:lstStyle>
          <a:p>
            <a:pPr lvl="0"/>
            <a:r>
              <a:rPr lang="de-DE" dirty="0"/>
              <a:t>Textmasterformat bearbeiten</a:t>
            </a:r>
          </a:p>
        </p:txBody>
      </p:sp>
      <p:sp>
        <p:nvSpPr>
          <p:cNvPr id="35" name="Textplatzhalter 12">
            <a:extLst>
              <a:ext uri="{FF2B5EF4-FFF2-40B4-BE49-F238E27FC236}">
                <a16:creationId xmlns:a16="http://schemas.microsoft.com/office/drawing/2014/main" id="{7277914C-02F0-4B59-9F60-F68A80F12E66}"/>
              </a:ext>
            </a:extLst>
          </p:cNvPr>
          <p:cNvSpPr>
            <a:spLocks noGrp="1"/>
          </p:cNvSpPr>
          <p:nvPr>
            <p:ph type="body" sz="quarter" idx="19" hasCustomPrompt="1"/>
          </p:nvPr>
        </p:nvSpPr>
        <p:spPr bwMode="gray">
          <a:xfrm>
            <a:off x="612279" y="726376"/>
            <a:ext cx="634789"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Month 20XX</a:t>
            </a:r>
          </a:p>
        </p:txBody>
      </p:sp>
      <p:sp>
        <p:nvSpPr>
          <p:cNvPr id="40" name="Parallelogramm 39">
            <a:extLst>
              <a:ext uri="{FF2B5EF4-FFF2-40B4-BE49-F238E27FC236}">
                <a16:creationId xmlns:a16="http://schemas.microsoft.com/office/drawing/2014/main" id="{4793A6C0-BE02-4AAC-BB64-2C3B544AA3E2}"/>
              </a:ext>
            </a:extLst>
          </p:cNvPr>
          <p:cNvSpPr/>
          <p:nvPr userDrawn="1"/>
        </p:nvSpPr>
        <p:spPr bwMode="gray">
          <a:xfrm>
            <a:off x="1245393" y="293182"/>
            <a:ext cx="862013" cy="1004888"/>
          </a:xfrm>
          <a:prstGeom prst="parallelogram">
            <a:avLst>
              <a:gd name="adj" fmla="val 98481"/>
            </a:avLst>
          </a:prstGeom>
          <a:solidFill>
            <a:srgbClr val="97999B"/>
          </a:solidFill>
          <a:ln w="6350">
            <a:noFill/>
            <a:miter lim="800000"/>
            <a:headEnd/>
            <a:tailEnd/>
          </a:ln>
        </p:spPr>
        <p:txBody>
          <a:bodyPr lIns="108000" tIns="72000" rIns="108000" bIns="72000" rtlCol="0" anchor="ctr">
            <a:noAutofit/>
          </a:bodyPr>
          <a:lstStyle/>
          <a:p>
            <a:pPr marL="266700" indent="-266700" algn="ctr" defTabSz="963613" eaLnBrk="0" hangingPunct="0">
              <a:spcBef>
                <a:spcPts val="800"/>
              </a:spcBef>
              <a:buClr>
                <a:schemeClr val="tx1"/>
              </a:buClr>
              <a:buFont typeface="Arial" pitchFamily="34" charset="0"/>
              <a:buChar char="—"/>
              <a:tabLst>
                <a:tab pos="1257300" algn="l"/>
              </a:tabLst>
            </a:pPr>
            <a:endParaRPr lang="en-US" sz="1000" dirty="0">
              <a:latin typeface="+mn-lt"/>
            </a:endParaRPr>
          </a:p>
        </p:txBody>
      </p:sp>
      <p:sp>
        <p:nvSpPr>
          <p:cNvPr id="41" name="Textplatzhalter 12">
            <a:extLst>
              <a:ext uri="{FF2B5EF4-FFF2-40B4-BE49-F238E27FC236}">
                <a16:creationId xmlns:a16="http://schemas.microsoft.com/office/drawing/2014/main" id="{05856FC8-CE4C-49DA-8819-FDD91233A9C6}"/>
              </a:ext>
            </a:extLst>
          </p:cNvPr>
          <p:cNvSpPr>
            <a:spLocks noGrp="1"/>
          </p:cNvSpPr>
          <p:nvPr>
            <p:ph type="body" sz="quarter" idx="20" hasCustomPrompt="1"/>
          </p:nvPr>
        </p:nvSpPr>
        <p:spPr bwMode="gray">
          <a:xfrm>
            <a:off x="2345519" y="366674"/>
            <a:ext cx="1134926"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Placeholder Contents:</a:t>
            </a:r>
          </a:p>
        </p:txBody>
      </p:sp>
      <p:sp>
        <p:nvSpPr>
          <p:cNvPr id="42" name="Textplatzhalter 12">
            <a:extLst>
              <a:ext uri="{FF2B5EF4-FFF2-40B4-BE49-F238E27FC236}">
                <a16:creationId xmlns:a16="http://schemas.microsoft.com/office/drawing/2014/main" id="{02CB252D-2BD2-468A-9996-BA142368EC8B}"/>
              </a:ext>
            </a:extLst>
          </p:cNvPr>
          <p:cNvSpPr>
            <a:spLocks noGrp="1"/>
          </p:cNvSpPr>
          <p:nvPr>
            <p:ph type="body" sz="quarter" idx="21" hasCustomPrompt="1"/>
          </p:nvPr>
        </p:nvSpPr>
        <p:spPr bwMode="gray">
          <a:xfrm>
            <a:off x="2291314" y="510555"/>
            <a:ext cx="128240"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1</a:t>
            </a:r>
          </a:p>
        </p:txBody>
      </p:sp>
      <p:sp>
        <p:nvSpPr>
          <p:cNvPr id="43" name="Textplatzhalter 12">
            <a:extLst>
              <a:ext uri="{FF2B5EF4-FFF2-40B4-BE49-F238E27FC236}">
                <a16:creationId xmlns:a16="http://schemas.microsoft.com/office/drawing/2014/main" id="{1E3A95D2-7ED9-47AE-9775-EB8F59BA7ACF}"/>
              </a:ext>
            </a:extLst>
          </p:cNvPr>
          <p:cNvSpPr>
            <a:spLocks noGrp="1"/>
          </p:cNvSpPr>
          <p:nvPr>
            <p:ph type="body" sz="quarter" idx="22" hasCustomPrompt="1"/>
          </p:nvPr>
        </p:nvSpPr>
        <p:spPr bwMode="gray">
          <a:xfrm>
            <a:off x="2174630" y="654436"/>
            <a:ext cx="128588" cy="138499"/>
          </a:xfrm>
        </p:spPr>
        <p:txBody>
          <a:bodyPr wrap="none" anchor="ctr">
            <a:no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2</a:t>
            </a:r>
          </a:p>
        </p:txBody>
      </p:sp>
      <p:sp>
        <p:nvSpPr>
          <p:cNvPr id="44" name="Textplatzhalter 12">
            <a:extLst>
              <a:ext uri="{FF2B5EF4-FFF2-40B4-BE49-F238E27FC236}">
                <a16:creationId xmlns:a16="http://schemas.microsoft.com/office/drawing/2014/main" id="{9E0DCCC2-18D1-4500-B536-6A1B653E76C2}"/>
              </a:ext>
            </a:extLst>
          </p:cNvPr>
          <p:cNvSpPr>
            <a:spLocks noGrp="1"/>
          </p:cNvSpPr>
          <p:nvPr>
            <p:ph type="body" sz="quarter" idx="23" hasCustomPrompt="1"/>
          </p:nvPr>
        </p:nvSpPr>
        <p:spPr bwMode="gray">
          <a:xfrm>
            <a:off x="2058295" y="798317"/>
            <a:ext cx="128240"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3</a:t>
            </a:r>
          </a:p>
        </p:txBody>
      </p:sp>
      <p:sp>
        <p:nvSpPr>
          <p:cNvPr id="45" name="Textplatzhalter 12">
            <a:extLst>
              <a:ext uri="{FF2B5EF4-FFF2-40B4-BE49-F238E27FC236}">
                <a16:creationId xmlns:a16="http://schemas.microsoft.com/office/drawing/2014/main" id="{070B562A-D92A-4BA8-8307-62CB2C3BF291}"/>
              </a:ext>
            </a:extLst>
          </p:cNvPr>
          <p:cNvSpPr>
            <a:spLocks noGrp="1"/>
          </p:cNvSpPr>
          <p:nvPr>
            <p:ph type="body" sz="quarter" idx="24" hasCustomPrompt="1"/>
          </p:nvPr>
        </p:nvSpPr>
        <p:spPr bwMode="gray">
          <a:xfrm>
            <a:off x="1941960" y="942198"/>
            <a:ext cx="128240"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4</a:t>
            </a:r>
          </a:p>
        </p:txBody>
      </p:sp>
      <p:sp>
        <p:nvSpPr>
          <p:cNvPr id="46" name="Textplatzhalter 12">
            <a:extLst>
              <a:ext uri="{FF2B5EF4-FFF2-40B4-BE49-F238E27FC236}">
                <a16:creationId xmlns:a16="http://schemas.microsoft.com/office/drawing/2014/main" id="{EB74D7FD-D93F-4F5C-8DFF-06F820B4FB9D}"/>
              </a:ext>
            </a:extLst>
          </p:cNvPr>
          <p:cNvSpPr>
            <a:spLocks noGrp="1"/>
          </p:cNvSpPr>
          <p:nvPr>
            <p:ph type="body" sz="quarter" idx="25" hasCustomPrompt="1"/>
          </p:nvPr>
        </p:nvSpPr>
        <p:spPr bwMode="gray">
          <a:xfrm>
            <a:off x="1825625" y="1086079"/>
            <a:ext cx="128240"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accent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5</a:t>
            </a:r>
          </a:p>
        </p:txBody>
      </p:sp>
      <p:sp>
        <p:nvSpPr>
          <p:cNvPr id="47" name="Textplatzhalter 12">
            <a:extLst>
              <a:ext uri="{FF2B5EF4-FFF2-40B4-BE49-F238E27FC236}">
                <a16:creationId xmlns:a16="http://schemas.microsoft.com/office/drawing/2014/main" id="{EC0EF89B-1985-43EE-B7DB-20319778334F}"/>
              </a:ext>
            </a:extLst>
          </p:cNvPr>
          <p:cNvSpPr>
            <a:spLocks noGrp="1"/>
          </p:cNvSpPr>
          <p:nvPr>
            <p:ph type="body" sz="quarter" idx="26" hasCustomPrompt="1"/>
          </p:nvPr>
        </p:nvSpPr>
        <p:spPr bwMode="gray">
          <a:xfrm>
            <a:off x="2476564" y="510555"/>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48" name="Textplatzhalter 12">
            <a:extLst>
              <a:ext uri="{FF2B5EF4-FFF2-40B4-BE49-F238E27FC236}">
                <a16:creationId xmlns:a16="http://schemas.microsoft.com/office/drawing/2014/main" id="{86262E24-4DCD-46BC-9291-F22D3FA1E8DA}"/>
              </a:ext>
            </a:extLst>
          </p:cNvPr>
          <p:cNvSpPr>
            <a:spLocks noGrp="1"/>
          </p:cNvSpPr>
          <p:nvPr>
            <p:ph type="body" sz="quarter" idx="27" hasCustomPrompt="1"/>
          </p:nvPr>
        </p:nvSpPr>
        <p:spPr bwMode="gray">
          <a:xfrm>
            <a:off x="2359880" y="654436"/>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49" name="Textplatzhalter 12">
            <a:extLst>
              <a:ext uri="{FF2B5EF4-FFF2-40B4-BE49-F238E27FC236}">
                <a16:creationId xmlns:a16="http://schemas.microsoft.com/office/drawing/2014/main" id="{9469E5F3-CE59-40D1-A516-216329B3A1AF}"/>
              </a:ext>
            </a:extLst>
          </p:cNvPr>
          <p:cNvSpPr>
            <a:spLocks noGrp="1"/>
          </p:cNvSpPr>
          <p:nvPr>
            <p:ph type="body" sz="quarter" idx="28" hasCustomPrompt="1"/>
          </p:nvPr>
        </p:nvSpPr>
        <p:spPr bwMode="gray">
          <a:xfrm>
            <a:off x="2243545" y="798317"/>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50" name="Textplatzhalter 12">
            <a:extLst>
              <a:ext uri="{FF2B5EF4-FFF2-40B4-BE49-F238E27FC236}">
                <a16:creationId xmlns:a16="http://schemas.microsoft.com/office/drawing/2014/main" id="{BDCFA413-6E54-4AAE-8F29-B67DFA6E06E4}"/>
              </a:ext>
            </a:extLst>
          </p:cNvPr>
          <p:cNvSpPr>
            <a:spLocks noGrp="1"/>
          </p:cNvSpPr>
          <p:nvPr>
            <p:ph type="body" sz="quarter" idx="29" hasCustomPrompt="1"/>
          </p:nvPr>
        </p:nvSpPr>
        <p:spPr bwMode="gray">
          <a:xfrm>
            <a:off x="2127210" y="942198"/>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
        <p:nvSpPr>
          <p:cNvPr id="51" name="Textplatzhalter 12">
            <a:extLst>
              <a:ext uri="{FF2B5EF4-FFF2-40B4-BE49-F238E27FC236}">
                <a16:creationId xmlns:a16="http://schemas.microsoft.com/office/drawing/2014/main" id="{794D9C5B-6933-4E7A-A0C1-314BB74373AB}"/>
              </a:ext>
            </a:extLst>
          </p:cNvPr>
          <p:cNvSpPr>
            <a:spLocks noGrp="1"/>
          </p:cNvSpPr>
          <p:nvPr>
            <p:ph type="body" sz="quarter" idx="30" hasCustomPrompt="1"/>
          </p:nvPr>
        </p:nvSpPr>
        <p:spPr bwMode="gray">
          <a:xfrm>
            <a:off x="2010875" y="1086079"/>
            <a:ext cx="750205" cy="138499"/>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900" b="0">
                <a:solidFill>
                  <a:schemeClr val="bg2"/>
                </a:solidFill>
              </a:defRPr>
            </a:lvl1pPr>
            <a:lvl2pPr marL="0" indent="0">
              <a:lnSpc>
                <a:spcPct val="100000"/>
              </a:lnSpc>
              <a:spcBef>
                <a:spcPts val="0"/>
              </a:spcBef>
              <a:buFont typeface="Arial" panose="020B0604020202020204" pitchFamily="34" charset="0"/>
              <a:buNone/>
              <a:defRPr sz="1000">
                <a:solidFill>
                  <a:schemeClr val="bg2"/>
                </a:solidFill>
              </a:defRPr>
            </a:lvl2pPr>
            <a:lvl3pPr marL="0" indent="0">
              <a:lnSpc>
                <a:spcPct val="100000"/>
              </a:lnSpc>
              <a:spcBef>
                <a:spcPts val="0"/>
              </a:spcBef>
              <a:buFont typeface="Arial" panose="020B0604020202020204" pitchFamily="34" charset="0"/>
              <a:buNone/>
              <a:defRPr sz="1000">
                <a:solidFill>
                  <a:schemeClr val="bg2"/>
                </a:solidFill>
              </a:defRPr>
            </a:lvl3pPr>
            <a:lvl4pPr marL="0" indent="0">
              <a:lnSpc>
                <a:spcPct val="100000"/>
              </a:lnSpc>
              <a:spcBef>
                <a:spcPts val="0"/>
              </a:spcBef>
              <a:buNone/>
              <a:defRPr sz="1000">
                <a:solidFill>
                  <a:schemeClr val="bg2"/>
                </a:solidFill>
              </a:defRPr>
            </a:lvl4pPr>
            <a:lvl5pPr marL="0" indent="0">
              <a:lnSpc>
                <a:spcPct val="100000"/>
              </a:lnSpc>
              <a:spcBef>
                <a:spcPts val="0"/>
              </a:spcBef>
              <a:buNone/>
              <a:defRPr sz="1000">
                <a:solidFill>
                  <a:schemeClr val="bg2"/>
                </a:solidFill>
              </a:defRPr>
            </a:lvl5pPr>
          </a:lstStyle>
          <a:p>
            <a:pPr lvl="0"/>
            <a:r>
              <a:rPr lang="en-US" noProof="0" dirty="0"/>
              <a:t>Chapter Name</a:t>
            </a:r>
          </a:p>
        </p:txBody>
      </p:sp>
    </p:spTree>
    <p:extLst>
      <p:ext uri="{BB962C8B-B14F-4D97-AF65-F5344CB8AC3E}">
        <p14:creationId xmlns:p14="http://schemas.microsoft.com/office/powerpoint/2010/main" val="1371739972"/>
      </p:ext>
    </p:extLst>
  </p:cSld>
  <p:clrMapOvr>
    <a:masterClrMapping/>
  </p:clrMapOvr>
  <p:extLst>
    <p:ext uri="{DCECCB84-F9BA-43D5-87BE-67443E8EF086}">
      <p15:sldGuideLst xmlns:p15="http://schemas.microsoft.com/office/powerpoint/2012/main">
        <p15:guide id="1" orient="horz" pos="3504">
          <p15:clr>
            <a:srgbClr val="FBAE40"/>
          </p15:clr>
        </p15:guide>
        <p15:guide id="2" orient="horz" pos="6543">
          <p15:clr>
            <a:srgbClr val="FBAE40"/>
          </p15:clr>
        </p15:guide>
        <p15:guide id="3" pos="2427">
          <p15:clr>
            <a:srgbClr val="FBAE40"/>
          </p15:clr>
        </p15:guide>
        <p15:guide id="4" pos="108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20" name="Objekt 19" hidden="1">
            <a:extLst>
              <a:ext uri="{FF2B5EF4-FFF2-40B4-BE49-F238E27FC236}">
                <a16:creationId xmlns:a16="http://schemas.microsoft.com/office/drawing/2014/main" id="{6891F096-6043-4BF9-8371-D1A126016511}"/>
              </a:ext>
            </a:extLst>
          </p:cNvPr>
          <p:cNvGraphicFramePr>
            <a:graphicFrameLocks noChangeAspect="1"/>
          </p:cNvGraphicFramePr>
          <p:nvPr userDrawn="1">
            <p:custDataLst>
              <p:tags r:id="rId1"/>
            </p:custDataLst>
            <p:extLst>
              <p:ext uri="{D42A27DB-BD31-4B8C-83A1-F6EECF244321}">
                <p14:modId xmlns:p14="http://schemas.microsoft.com/office/powerpoint/2010/main" val="2869191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0" name="Objekt 19" hidden="1">
                        <a:extLst>
                          <a:ext uri="{FF2B5EF4-FFF2-40B4-BE49-F238E27FC236}">
                            <a16:creationId xmlns:a16="http://schemas.microsoft.com/office/drawing/2014/main" id="{6891F096-6043-4BF9-8371-D1A1260165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hteck 18" hidden="1">
            <a:extLst>
              <a:ext uri="{FF2B5EF4-FFF2-40B4-BE49-F238E27FC236}">
                <a16:creationId xmlns:a16="http://schemas.microsoft.com/office/drawing/2014/main" id="{6DEFFC93-5A73-4669-9294-867CE1AD2CF7}"/>
              </a:ext>
            </a:extLst>
          </p:cNvPr>
          <p:cNvSpPr/>
          <p:nvPr userDrawn="1">
            <p:custDataLst>
              <p:tags r:id="rId2"/>
            </p:custDataLst>
          </p:nvPr>
        </p:nvSpPr>
        <p:spPr bwMode="auto">
          <a:xfrm>
            <a:off x="0" y="0"/>
            <a:ext cx="158750" cy="158750"/>
          </a:xfrm>
          <a:prstGeom prst="rect">
            <a:avLst/>
          </a:prstGeom>
          <a:solidFill>
            <a:srgbClr val="E6EAEE"/>
          </a:solidFill>
          <a:ln w="6350">
            <a:solidFill>
              <a:srgbClr val="E6EAEE"/>
            </a:solidFill>
            <a:miter lim="800000"/>
            <a:headEnd/>
            <a:tailEnd/>
          </a:ln>
        </p:spPr>
        <p:txBody>
          <a:bodyPr vert="horz" wrap="none" lIns="0" tIns="0" rIns="0" bIns="0" numCol="1" spcCol="0" rtlCol="0" anchor="ctr" anchorCtr="0">
            <a:noAutofit/>
          </a:bodyPr>
          <a:lstStyle/>
          <a:p>
            <a:pPr marL="0" lvl="0" indent="0" algn="ctr" defTabSz="963613" eaLnBrk="0" hangingPunct="0">
              <a:spcBef>
                <a:spcPts val="800"/>
              </a:spcBef>
              <a:buClr>
                <a:schemeClr val="tx1"/>
              </a:buClr>
              <a:buFontTx/>
              <a:buNone/>
              <a:tabLst>
                <a:tab pos="1257300" algn="l"/>
              </a:tabLst>
            </a:pPr>
            <a:endParaRPr lang="en-US" sz="1600" b="0" i="0" baseline="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el 1">
            <a:extLst>
              <a:ext uri="{FF2B5EF4-FFF2-40B4-BE49-F238E27FC236}">
                <a16:creationId xmlns:a16="http://schemas.microsoft.com/office/drawing/2014/main" id="{AB4C2818-3ED9-40FD-A530-B3A8B386744C}"/>
              </a:ext>
            </a:extLst>
          </p:cNvPr>
          <p:cNvSpPr>
            <a:spLocks noGrp="1"/>
          </p:cNvSpPr>
          <p:nvPr>
            <p:ph type="title" hasCustomPrompt="1"/>
          </p:nvPr>
        </p:nvSpPr>
        <p:spPr bwMode="gray">
          <a:xfrm>
            <a:off x="612775" y="934469"/>
            <a:ext cx="6335713" cy="233910"/>
          </a:xfrm>
        </p:spPr>
        <p:txBody>
          <a:bodyPr/>
          <a:lstStyle>
            <a:lvl1pPr>
              <a:defRPr>
                <a:latin typeface="DWS Sans Light" panose="02010404010101010104" pitchFamily="50" charset="0"/>
                <a:cs typeface="DWS Sans Light" panose="02010404010101010104" pitchFamily="50" charset="0"/>
              </a:defRPr>
            </a:lvl1pPr>
          </a:lstStyle>
          <a:p>
            <a:r>
              <a:rPr lang="en-US" dirty="0"/>
              <a:t>Placeholder title</a:t>
            </a:r>
            <a:endParaRPr lang="de-DE" dirty="0"/>
          </a:p>
        </p:txBody>
      </p:sp>
      <p:sp>
        <p:nvSpPr>
          <p:cNvPr id="3" name="Foliennummernplatzhalter 2">
            <a:extLst>
              <a:ext uri="{FF2B5EF4-FFF2-40B4-BE49-F238E27FC236}">
                <a16:creationId xmlns:a16="http://schemas.microsoft.com/office/drawing/2014/main" id="{040741AE-A581-45AE-97FA-7FB35E3E6F48}"/>
              </a:ext>
            </a:extLst>
          </p:cNvPr>
          <p:cNvSpPr>
            <a:spLocks noGrp="1"/>
          </p:cNvSpPr>
          <p:nvPr>
            <p:ph type="sldNum" sz="quarter" idx="10"/>
          </p:nvPr>
        </p:nvSpPr>
        <p:spPr bwMode="gray">
          <a:xfrm>
            <a:off x="612279" y="10277916"/>
            <a:ext cx="288000" cy="107722"/>
          </a:xfrm>
        </p:spPr>
        <p:txBody>
          <a:bodyPr/>
          <a:lstStyle/>
          <a:p>
            <a:fld id="{3C189ADE-B34A-4B7F-8705-8D7FBD301B3C}" type="slidenum">
              <a:rPr lang="de-DE" smtClean="0"/>
              <a:pPr/>
              <a:t>‹N›</a:t>
            </a:fld>
            <a:endParaRPr lang="de-DE" dirty="0"/>
          </a:p>
        </p:txBody>
      </p:sp>
      <p:sp>
        <p:nvSpPr>
          <p:cNvPr id="13" name="Textplatzhalter 12">
            <a:extLst>
              <a:ext uri="{FF2B5EF4-FFF2-40B4-BE49-F238E27FC236}">
                <a16:creationId xmlns:a16="http://schemas.microsoft.com/office/drawing/2014/main" id="{14E52239-0B41-4EF5-8B95-1BFC25885969}"/>
              </a:ext>
            </a:extLst>
          </p:cNvPr>
          <p:cNvSpPr>
            <a:spLocks noGrp="1"/>
          </p:cNvSpPr>
          <p:nvPr>
            <p:ph type="body" sz="quarter" idx="12" hasCustomPrompt="1"/>
          </p:nvPr>
        </p:nvSpPr>
        <p:spPr bwMode="gray">
          <a:xfrm>
            <a:off x="612278" y="1335140"/>
            <a:ext cx="3096121" cy="1009251"/>
          </a:xfrm>
        </p:spPr>
        <p:txBody>
          <a:bodyPr wrap="square">
            <a:spAutoFit/>
          </a:bodyPr>
          <a:lstStyle>
            <a:lvl1pPr>
              <a:defRPr sz="1000">
                <a:solidFill>
                  <a:schemeClr val="accent2"/>
                </a:solidFill>
              </a:defRPr>
            </a:lvl1pPr>
            <a:lvl2pPr marL="0" marR="0" indent="0" algn="l" defTabSz="914400" rtl="0" eaLnBrk="1" fontAlgn="base" latinLnBrk="0" hangingPunct="1">
              <a:lnSpc>
                <a:spcPct val="106000"/>
              </a:lnSpc>
              <a:spcBef>
                <a:spcPts val="200"/>
              </a:spcBef>
              <a:spcAft>
                <a:spcPts val="0"/>
              </a:spcAft>
              <a:buClrTx/>
              <a:buSzTx/>
              <a:buFontTx/>
              <a:buNone/>
              <a:tabLst/>
              <a:defRPr sz="900">
                <a:solidFill>
                  <a:schemeClr val="bg2"/>
                </a:solidFill>
              </a:defRPr>
            </a:lvl2pPr>
            <a:lvl3pPr>
              <a:defRPr sz="1000"/>
            </a:lvl3pPr>
            <a:lvl4pPr>
              <a:defRPr sz="1000"/>
            </a:lvl4pPr>
            <a:lvl5pPr marL="0" indent="0">
              <a:buNone/>
              <a:defRPr sz="1200">
                <a:solidFill>
                  <a:schemeClr val="accent3"/>
                </a:solidFill>
              </a:defRPr>
            </a:lvl5pPr>
          </a:lstStyle>
          <a:p>
            <a:pPr lvl="1"/>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p:txBody>
      </p:sp>
      <p:sp>
        <p:nvSpPr>
          <p:cNvPr id="14" name="Textplatzhalter 12">
            <a:extLst>
              <a:ext uri="{FF2B5EF4-FFF2-40B4-BE49-F238E27FC236}">
                <a16:creationId xmlns:a16="http://schemas.microsoft.com/office/drawing/2014/main" id="{BB8FA2F0-290D-4B82-B6F5-D3D9F847C9FA}"/>
              </a:ext>
            </a:extLst>
          </p:cNvPr>
          <p:cNvSpPr>
            <a:spLocks noGrp="1"/>
          </p:cNvSpPr>
          <p:nvPr>
            <p:ph type="body" sz="quarter" idx="13" hasCustomPrompt="1"/>
          </p:nvPr>
        </p:nvSpPr>
        <p:spPr bwMode="gray">
          <a:xfrm>
            <a:off x="3852639" y="1335140"/>
            <a:ext cx="3096121" cy="1009251"/>
          </a:xfrm>
        </p:spPr>
        <p:txBody>
          <a:bodyPr wrap="square">
            <a:spAutoFit/>
          </a:bodyPr>
          <a:lstStyle>
            <a:lvl1pPr>
              <a:defRPr sz="1000"/>
            </a:lvl1pPr>
            <a:lvl2pPr marL="0" marR="0" indent="0" algn="l" defTabSz="914400" rtl="0" eaLnBrk="1" fontAlgn="base" latinLnBrk="0" hangingPunct="1">
              <a:lnSpc>
                <a:spcPct val="106000"/>
              </a:lnSpc>
              <a:spcBef>
                <a:spcPts val="200"/>
              </a:spcBef>
              <a:spcAft>
                <a:spcPts val="0"/>
              </a:spcAft>
              <a:buClrTx/>
              <a:buSzTx/>
              <a:buFontTx/>
              <a:buNone/>
              <a:tabLst/>
              <a:defRPr sz="900"/>
            </a:lvl2pPr>
            <a:lvl3pPr>
              <a:defRPr sz="1000"/>
            </a:lvl3pPr>
            <a:lvl4pPr>
              <a:defRPr sz="1000"/>
            </a:lvl4pPr>
            <a:lvl5pPr>
              <a:defRPr sz="1000"/>
            </a:lvl5pPr>
          </a:lstStyle>
          <a:p>
            <a:pPr lvl="1"/>
            <a:r>
              <a:rPr lang="en-US" dirty="0"/>
              <a:t>Second level: Body text</a:t>
            </a:r>
          </a:p>
          <a:p>
            <a:pPr lvl="1"/>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p:txBody>
      </p:sp>
      <p:sp>
        <p:nvSpPr>
          <p:cNvPr id="25" name="Textplatzhalter 12">
            <a:extLst>
              <a:ext uri="{FF2B5EF4-FFF2-40B4-BE49-F238E27FC236}">
                <a16:creationId xmlns:a16="http://schemas.microsoft.com/office/drawing/2014/main" id="{CDA5A2BA-F61B-41BF-B79F-B5BB15BD5D3E}"/>
              </a:ext>
            </a:extLst>
          </p:cNvPr>
          <p:cNvSpPr>
            <a:spLocks noGrp="1"/>
          </p:cNvSpPr>
          <p:nvPr>
            <p:ph type="body" sz="quarter" idx="15" hasCustomPrompt="1"/>
          </p:nvPr>
        </p:nvSpPr>
        <p:spPr bwMode="gray">
          <a:xfrm>
            <a:off x="612278" y="640515"/>
            <a:ext cx="173124" cy="169277"/>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1100" b="0">
                <a:solidFill>
                  <a:schemeClr val="accent2"/>
                </a:solidFill>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X</a:t>
            </a:r>
          </a:p>
        </p:txBody>
      </p:sp>
      <p:sp>
        <p:nvSpPr>
          <p:cNvPr id="29" name="Textplatzhalter 12">
            <a:extLst>
              <a:ext uri="{FF2B5EF4-FFF2-40B4-BE49-F238E27FC236}">
                <a16:creationId xmlns:a16="http://schemas.microsoft.com/office/drawing/2014/main" id="{EEF72869-3591-49DF-B605-493E2787BF59}"/>
              </a:ext>
            </a:extLst>
          </p:cNvPr>
          <p:cNvSpPr>
            <a:spLocks noGrp="1"/>
          </p:cNvSpPr>
          <p:nvPr>
            <p:ph type="body" sz="quarter" idx="16" hasCustomPrompt="1"/>
          </p:nvPr>
        </p:nvSpPr>
        <p:spPr bwMode="gray">
          <a:xfrm>
            <a:off x="828303" y="640515"/>
            <a:ext cx="6120680" cy="169277"/>
          </a:xfrm>
        </p:spPr>
        <p:txBody>
          <a:bodyPr wrap="squar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1100" b="0">
                <a:solidFill>
                  <a:schemeClr val="accent3"/>
                </a:solidFill>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Placeholder Chapter</a:t>
            </a:r>
          </a:p>
        </p:txBody>
      </p:sp>
      <p:sp>
        <p:nvSpPr>
          <p:cNvPr id="6" name="Diagrammplatzhalter 5"/>
          <p:cNvSpPr>
            <a:spLocks noGrp="1"/>
          </p:cNvSpPr>
          <p:nvPr>
            <p:ph type="chart" sz="quarter" idx="17"/>
          </p:nvPr>
        </p:nvSpPr>
        <p:spPr>
          <a:xfrm>
            <a:off x="612775" y="8194204"/>
            <a:ext cx="3095625" cy="1517620"/>
          </a:xfrm>
        </p:spPr>
        <p:txBody>
          <a:bodyPr/>
          <a:lstStyle/>
          <a:p>
            <a:endParaRPr lang="de-DE" dirty="0"/>
          </a:p>
        </p:txBody>
      </p:sp>
      <p:sp>
        <p:nvSpPr>
          <p:cNvPr id="16" name="Textplatzhalter 4"/>
          <p:cNvSpPr>
            <a:spLocks noGrp="1"/>
          </p:cNvSpPr>
          <p:nvPr>
            <p:ph type="body" sz="quarter" idx="32"/>
          </p:nvPr>
        </p:nvSpPr>
        <p:spPr>
          <a:xfrm>
            <a:off x="612775" y="7617778"/>
            <a:ext cx="3095624" cy="171132"/>
          </a:xfrm>
        </p:spPr>
        <p:txBody>
          <a:bodyPr/>
          <a:lstStyle/>
          <a:p>
            <a:pPr lvl="0"/>
            <a:r>
              <a:rPr lang="de-DE" dirty="0"/>
              <a:t>Textmasterformat bearbeiten</a:t>
            </a:r>
          </a:p>
        </p:txBody>
      </p:sp>
      <p:sp>
        <p:nvSpPr>
          <p:cNvPr id="17" name="Textplatzhalter 9"/>
          <p:cNvSpPr>
            <a:spLocks noGrp="1"/>
          </p:cNvSpPr>
          <p:nvPr>
            <p:ph type="body" sz="quarter" idx="33" hasCustomPrompt="1"/>
          </p:nvPr>
        </p:nvSpPr>
        <p:spPr>
          <a:xfrm>
            <a:off x="612775" y="7822566"/>
            <a:ext cx="3095624" cy="292262"/>
          </a:xfrm>
        </p:spPr>
        <p:txBody>
          <a:bodyPr/>
          <a:lstStyle>
            <a:lvl2pPr marL="0" marR="0" indent="0" algn="l" defTabSz="914400" rtl="0" eaLnBrk="1" fontAlgn="base" latinLnBrk="0" hangingPunct="1">
              <a:lnSpc>
                <a:spcPct val="100000"/>
              </a:lnSpc>
              <a:spcBef>
                <a:spcPts val="0"/>
              </a:spcBef>
              <a:spcAft>
                <a:spcPts val="0"/>
              </a:spcAft>
              <a:buClrTx/>
              <a:buSzTx/>
              <a:buFontTx/>
              <a:buNone/>
              <a:tabLst/>
              <a:defRPr/>
            </a:lvl2pPr>
          </a:lstStyle>
          <a:p>
            <a:pPr lvl="1"/>
            <a:r>
              <a:rPr lang="de-DE" dirty="0"/>
              <a:t>Zweite Ebene</a:t>
            </a:r>
          </a:p>
          <a:p>
            <a:pPr marL="0" marR="0" lvl="1" indent="0" algn="l" defTabSz="914400" rtl="0" eaLnBrk="1" fontAlgn="base" latinLnBrk="0" hangingPunct="1">
              <a:lnSpc>
                <a:spcPct val="106000"/>
              </a:lnSpc>
              <a:spcBef>
                <a:spcPts val="200"/>
              </a:spcBef>
              <a:spcAft>
                <a:spcPts val="0"/>
              </a:spcAft>
              <a:buClrTx/>
              <a:buSzTx/>
              <a:buFontTx/>
              <a:buNone/>
              <a:tabLst/>
              <a:defRPr/>
            </a:pPr>
            <a:r>
              <a:rPr lang="de-DE" dirty="0"/>
              <a:t>Zweite Ebene</a:t>
            </a:r>
          </a:p>
          <a:p>
            <a:pPr lvl="1"/>
            <a:endParaRPr lang="de-DE" dirty="0"/>
          </a:p>
        </p:txBody>
      </p:sp>
      <p:sp>
        <p:nvSpPr>
          <p:cNvPr id="31" name="Diagrammplatzhalter 5"/>
          <p:cNvSpPr>
            <a:spLocks noGrp="1"/>
          </p:cNvSpPr>
          <p:nvPr>
            <p:ph type="chart" sz="quarter" idx="34"/>
          </p:nvPr>
        </p:nvSpPr>
        <p:spPr>
          <a:xfrm>
            <a:off x="3865022" y="8194204"/>
            <a:ext cx="3095625" cy="1517620"/>
          </a:xfrm>
        </p:spPr>
        <p:txBody>
          <a:bodyPr/>
          <a:lstStyle/>
          <a:p>
            <a:endParaRPr lang="de-DE" dirty="0"/>
          </a:p>
        </p:txBody>
      </p:sp>
      <p:sp>
        <p:nvSpPr>
          <p:cNvPr id="32" name="Textplatzhalter 4"/>
          <p:cNvSpPr>
            <a:spLocks noGrp="1"/>
          </p:cNvSpPr>
          <p:nvPr>
            <p:ph type="body" sz="quarter" idx="35"/>
          </p:nvPr>
        </p:nvSpPr>
        <p:spPr>
          <a:xfrm>
            <a:off x="3865022" y="7617778"/>
            <a:ext cx="3095624" cy="171132"/>
          </a:xfrm>
        </p:spPr>
        <p:txBody>
          <a:bodyPr/>
          <a:lstStyle/>
          <a:p>
            <a:pPr lvl="0"/>
            <a:r>
              <a:rPr lang="de-DE" dirty="0"/>
              <a:t>Textmasterformat bearbeiten</a:t>
            </a:r>
          </a:p>
        </p:txBody>
      </p:sp>
      <p:sp>
        <p:nvSpPr>
          <p:cNvPr id="33" name="Textplatzhalter 9"/>
          <p:cNvSpPr>
            <a:spLocks noGrp="1"/>
          </p:cNvSpPr>
          <p:nvPr>
            <p:ph type="body" sz="quarter" idx="36" hasCustomPrompt="1"/>
          </p:nvPr>
        </p:nvSpPr>
        <p:spPr>
          <a:xfrm>
            <a:off x="3865022" y="7822566"/>
            <a:ext cx="3095624" cy="292262"/>
          </a:xfrm>
        </p:spPr>
        <p:txBody>
          <a:bodyPr/>
          <a:lstStyle>
            <a:lvl2pPr marL="0" marR="0" indent="0" algn="l" defTabSz="914400" rtl="0" eaLnBrk="1" fontAlgn="base" latinLnBrk="0" hangingPunct="1">
              <a:lnSpc>
                <a:spcPct val="100000"/>
              </a:lnSpc>
              <a:spcBef>
                <a:spcPts val="0"/>
              </a:spcBef>
              <a:spcAft>
                <a:spcPts val="0"/>
              </a:spcAft>
              <a:buClrTx/>
              <a:buSzTx/>
              <a:buFontTx/>
              <a:buNone/>
              <a:tabLst/>
              <a:defRPr/>
            </a:lvl2pPr>
          </a:lstStyle>
          <a:p>
            <a:pPr lvl="1"/>
            <a:r>
              <a:rPr lang="de-DE" dirty="0"/>
              <a:t>Zweite Ebene</a:t>
            </a:r>
          </a:p>
          <a:p>
            <a:pPr marL="0" marR="0" lvl="1" indent="0" algn="l" defTabSz="914400" rtl="0" eaLnBrk="1" fontAlgn="base" latinLnBrk="0" hangingPunct="1">
              <a:lnSpc>
                <a:spcPct val="106000"/>
              </a:lnSpc>
              <a:spcBef>
                <a:spcPts val="200"/>
              </a:spcBef>
              <a:spcAft>
                <a:spcPts val="0"/>
              </a:spcAft>
              <a:buClrTx/>
              <a:buSzTx/>
              <a:buFontTx/>
              <a:buNone/>
              <a:tabLst/>
              <a:defRPr/>
            </a:pPr>
            <a:r>
              <a:rPr lang="de-DE" dirty="0"/>
              <a:t>Zweite Ebene</a:t>
            </a:r>
          </a:p>
          <a:p>
            <a:pPr lvl="1"/>
            <a:endParaRPr lang="de-DE" dirty="0"/>
          </a:p>
        </p:txBody>
      </p:sp>
      <p:sp>
        <p:nvSpPr>
          <p:cNvPr id="42" name="Textplatzhalter 4"/>
          <p:cNvSpPr>
            <a:spLocks noGrp="1"/>
          </p:cNvSpPr>
          <p:nvPr>
            <p:ph type="body" sz="quarter" idx="43"/>
          </p:nvPr>
        </p:nvSpPr>
        <p:spPr>
          <a:xfrm>
            <a:off x="624204" y="6195917"/>
            <a:ext cx="6350457" cy="183999"/>
          </a:xfrm>
        </p:spPr>
        <p:txBody>
          <a:bodyPr/>
          <a:lstStyle/>
          <a:p>
            <a:pPr lvl="0"/>
            <a:r>
              <a:rPr lang="de-DE" dirty="0"/>
              <a:t>Textmasterformat bearbeiten</a:t>
            </a:r>
          </a:p>
        </p:txBody>
      </p:sp>
      <p:sp>
        <p:nvSpPr>
          <p:cNvPr id="43" name="Textplatzhalter 9"/>
          <p:cNvSpPr>
            <a:spLocks noGrp="1"/>
          </p:cNvSpPr>
          <p:nvPr>
            <p:ph type="body" sz="quarter" idx="44" hasCustomPrompt="1"/>
          </p:nvPr>
        </p:nvSpPr>
        <p:spPr>
          <a:xfrm>
            <a:off x="624204" y="6377846"/>
            <a:ext cx="6350457" cy="188879"/>
          </a:xfrm>
        </p:spPr>
        <p:txBody>
          <a:bodyPr/>
          <a:lstStyle>
            <a:lvl2pPr marL="0" marR="0" indent="0" algn="l" defTabSz="914400" rtl="0" eaLnBrk="1" fontAlgn="base" latinLnBrk="0" hangingPunct="1">
              <a:lnSpc>
                <a:spcPct val="100000"/>
              </a:lnSpc>
              <a:spcBef>
                <a:spcPts val="0"/>
              </a:spcBef>
              <a:spcAft>
                <a:spcPts val="0"/>
              </a:spcAft>
              <a:buClrTx/>
              <a:buSzTx/>
              <a:buFontTx/>
              <a:buNone/>
              <a:tabLst/>
              <a:defRPr b="1"/>
            </a:lvl2pPr>
          </a:lstStyle>
          <a:p>
            <a:pPr lvl="1"/>
            <a:r>
              <a:rPr lang="de-DE" dirty="0"/>
              <a:t>Zweite Ebene</a:t>
            </a:r>
          </a:p>
        </p:txBody>
      </p:sp>
      <p:sp>
        <p:nvSpPr>
          <p:cNvPr id="47" name="Textplatzhalter 4"/>
          <p:cNvSpPr>
            <a:spLocks noGrp="1"/>
          </p:cNvSpPr>
          <p:nvPr>
            <p:ph type="body" sz="quarter" idx="45"/>
          </p:nvPr>
        </p:nvSpPr>
        <p:spPr>
          <a:xfrm>
            <a:off x="631690" y="3740240"/>
            <a:ext cx="6350457" cy="183999"/>
          </a:xfrm>
        </p:spPr>
        <p:txBody>
          <a:bodyPr/>
          <a:lstStyle/>
          <a:p>
            <a:pPr lvl="0"/>
            <a:r>
              <a:rPr lang="de-DE" dirty="0"/>
              <a:t>Textmasterformat bearbeiten</a:t>
            </a:r>
          </a:p>
        </p:txBody>
      </p:sp>
      <p:sp>
        <p:nvSpPr>
          <p:cNvPr id="48" name="Textplatzhalter 9"/>
          <p:cNvSpPr>
            <a:spLocks noGrp="1"/>
          </p:cNvSpPr>
          <p:nvPr>
            <p:ph type="body" sz="quarter" idx="46" hasCustomPrompt="1"/>
          </p:nvPr>
        </p:nvSpPr>
        <p:spPr>
          <a:xfrm>
            <a:off x="631690" y="3922169"/>
            <a:ext cx="6350457" cy="188879"/>
          </a:xfrm>
        </p:spPr>
        <p:txBody>
          <a:bodyPr/>
          <a:lstStyle>
            <a:lvl2pPr marL="0" marR="0" indent="0" algn="l" defTabSz="914400" rtl="0" eaLnBrk="1" fontAlgn="base" latinLnBrk="0" hangingPunct="1">
              <a:lnSpc>
                <a:spcPct val="100000"/>
              </a:lnSpc>
              <a:spcBef>
                <a:spcPts val="0"/>
              </a:spcBef>
              <a:spcAft>
                <a:spcPts val="0"/>
              </a:spcAft>
              <a:buClrTx/>
              <a:buSzTx/>
              <a:buFontTx/>
              <a:buNone/>
              <a:tabLst/>
              <a:defRPr b="1"/>
            </a:lvl2pPr>
          </a:lstStyle>
          <a:p>
            <a:pPr lvl="1"/>
            <a:r>
              <a:rPr lang="de-DE" dirty="0"/>
              <a:t>Zweite Ebene</a:t>
            </a:r>
          </a:p>
        </p:txBody>
      </p:sp>
      <p:sp>
        <p:nvSpPr>
          <p:cNvPr id="49" name="Textplatzhalter 4"/>
          <p:cNvSpPr>
            <a:spLocks noGrp="1"/>
          </p:cNvSpPr>
          <p:nvPr>
            <p:ph type="body" sz="quarter" idx="47"/>
          </p:nvPr>
        </p:nvSpPr>
        <p:spPr>
          <a:xfrm>
            <a:off x="624070" y="4978490"/>
            <a:ext cx="6350457" cy="183999"/>
          </a:xfrm>
        </p:spPr>
        <p:txBody>
          <a:bodyPr/>
          <a:lstStyle/>
          <a:p>
            <a:pPr lvl="0"/>
            <a:r>
              <a:rPr lang="de-DE" dirty="0"/>
              <a:t>Textmasterformat bearbeiten</a:t>
            </a:r>
          </a:p>
        </p:txBody>
      </p:sp>
      <p:sp>
        <p:nvSpPr>
          <p:cNvPr id="50" name="Textplatzhalter 9"/>
          <p:cNvSpPr>
            <a:spLocks noGrp="1"/>
          </p:cNvSpPr>
          <p:nvPr>
            <p:ph type="body" sz="quarter" idx="48" hasCustomPrompt="1"/>
          </p:nvPr>
        </p:nvSpPr>
        <p:spPr>
          <a:xfrm>
            <a:off x="624070" y="5160419"/>
            <a:ext cx="6350457" cy="188879"/>
          </a:xfrm>
        </p:spPr>
        <p:txBody>
          <a:bodyPr/>
          <a:lstStyle>
            <a:lvl2pPr marL="0" marR="0" indent="0" algn="l" defTabSz="914400" rtl="0" eaLnBrk="1" fontAlgn="base" latinLnBrk="0" hangingPunct="1">
              <a:lnSpc>
                <a:spcPct val="100000"/>
              </a:lnSpc>
              <a:spcBef>
                <a:spcPts val="0"/>
              </a:spcBef>
              <a:spcAft>
                <a:spcPts val="0"/>
              </a:spcAft>
              <a:buClrTx/>
              <a:buSzTx/>
              <a:buFontTx/>
              <a:buNone/>
              <a:tabLst/>
              <a:defRPr b="1"/>
            </a:lvl2pPr>
          </a:lstStyle>
          <a:p>
            <a:pPr lvl="1"/>
            <a:r>
              <a:rPr lang="de-DE" dirty="0"/>
              <a:t>Zweite Ebene</a:t>
            </a:r>
          </a:p>
        </p:txBody>
      </p:sp>
      <p:sp>
        <p:nvSpPr>
          <p:cNvPr id="51" name="Textplatzhalter 4"/>
          <p:cNvSpPr>
            <a:spLocks noGrp="1"/>
          </p:cNvSpPr>
          <p:nvPr>
            <p:ph type="body" sz="quarter" idx="49"/>
          </p:nvPr>
        </p:nvSpPr>
        <p:spPr>
          <a:xfrm>
            <a:off x="631690" y="2505800"/>
            <a:ext cx="6350457" cy="183999"/>
          </a:xfrm>
        </p:spPr>
        <p:txBody>
          <a:bodyPr/>
          <a:lstStyle/>
          <a:p>
            <a:pPr lvl="0"/>
            <a:r>
              <a:rPr lang="de-DE" dirty="0"/>
              <a:t>Textmasterformat bearbeiten</a:t>
            </a:r>
          </a:p>
        </p:txBody>
      </p:sp>
      <p:sp>
        <p:nvSpPr>
          <p:cNvPr id="52" name="Textplatzhalter 9"/>
          <p:cNvSpPr>
            <a:spLocks noGrp="1"/>
          </p:cNvSpPr>
          <p:nvPr>
            <p:ph type="body" sz="quarter" idx="50" hasCustomPrompt="1"/>
          </p:nvPr>
        </p:nvSpPr>
        <p:spPr>
          <a:xfrm>
            <a:off x="631690" y="2687729"/>
            <a:ext cx="6350457" cy="188879"/>
          </a:xfrm>
        </p:spPr>
        <p:txBody>
          <a:bodyPr/>
          <a:lstStyle>
            <a:lvl2pPr marL="0" marR="0" indent="0" algn="l" defTabSz="914400" rtl="0" eaLnBrk="1" fontAlgn="base" latinLnBrk="0" hangingPunct="1">
              <a:lnSpc>
                <a:spcPct val="100000"/>
              </a:lnSpc>
              <a:spcBef>
                <a:spcPts val="0"/>
              </a:spcBef>
              <a:spcAft>
                <a:spcPts val="0"/>
              </a:spcAft>
              <a:buClrTx/>
              <a:buSzTx/>
              <a:buFontTx/>
              <a:buNone/>
              <a:tabLst/>
              <a:defRPr b="1"/>
            </a:lvl2pPr>
          </a:lstStyle>
          <a:p>
            <a:pPr lvl="1"/>
            <a:r>
              <a:rPr lang="de-DE" dirty="0"/>
              <a:t>Zweite Ebene</a:t>
            </a:r>
          </a:p>
        </p:txBody>
      </p:sp>
      <p:sp>
        <p:nvSpPr>
          <p:cNvPr id="55" name="Textplatzhalter 12">
            <a:extLst>
              <a:ext uri="{FF2B5EF4-FFF2-40B4-BE49-F238E27FC236}">
                <a16:creationId xmlns:a16="http://schemas.microsoft.com/office/drawing/2014/main" id="{14E52239-0B41-4EF5-8B95-1BFC25885969}"/>
              </a:ext>
            </a:extLst>
          </p:cNvPr>
          <p:cNvSpPr>
            <a:spLocks noGrp="1"/>
          </p:cNvSpPr>
          <p:nvPr>
            <p:ph type="body" sz="quarter" idx="38" hasCustomPrompt="1"/>
          </p:nvPr>
        </p:nvSpPr>
        <p:spPr bwMode="gray">
          <a:xfrm>
            <a:off x="1485900" y="6595551"/>
            <a:ext cx="5488761" cy="836768"/>
          </a:xfrm>
        </p:spPr>
        <p:txBody>
          <a:bodyPr wrap="square">
            <a:spAutoFit/>
          </a:bodyPr>
          <a:lstStyle>
            <a:lvl1pPr>
              <a:defRPr sz="1000">
                <a:solidFill>
                  <a:schemeClr val="accent2"/>
                </a:solidFill>
              </a:defRPr>
            </a:lvl1pPr>
            <a:lvl2pPr marL="0" marR="0" indent="0" algn="l" defTabSz="914400" rtl="0" eaLnBrk="1" fontAlgn="base" latinLnBrk="0" hangingPunct="1">
              <a:lnSpc>
                <a:spcPct val="106000"/>
              </a:lnSpc>
              <a:spcBef>
                <a:spcPts val="200"/>
              </a:spcBef>
              <a:spcAft>
                <a:spcPts val="0"/>
              </a:spcAft>
              <a:buClrTx/>
              <a:buSzTx/>
              <a:buFontTx/>
              <a:buNone/>
              <a:tabLst/>
              <a:defRPr sz="900">
                <a:solidFill>
                  <a:schemeClr val="bg2"/>
                </a:solidFill>
              </a:defRPr>
            </a:lvl2pPr>
            <a:lvl3pPr>
              <a:defRPr sz="1000"/>
            </a:lvl3pPr>
            <a:lvl4pPr>
              <a:defRPr sz="1000"/>
            </a:lvl4pPr>
            <a:lvl5pPr marL="0" indent="0">
              <a:buNone/>
              <a:defRPr sz="1200">
                <a:solidFill>
                  <a:schemeClr val="accent3"/>
                </a:solidFill>
              </a:defRPr>
            </a:lvl5pPr>
          </a:lstStyle>
          <a:p>
            <a:pPr lvl="1"/>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p:txBody>
      </p:sp>
      <p:sp>
        <p:nvSpPr>
          <p:cNvPr id="56" name="Textplatzhalter 12">
            <a:extLst>
              <a:ext uri="{FF2B5EF4-FFF2-40B4-BE49-F238E27FC236}">
                <a16:creationId xmlns:a16="http://schemas.microsoft.com/office/drawing/2014/main" id="{14E52239-0B41-4EF5-8B95-1BFC25885969}"/>
              </a:ext>
            </a:extLst>
          </p:cNvPr>
          <p:cNvSpPr>
            <a:spLocks noGrp="1"/>
          </p:cNvSpPr>
          <p:nvPr>
            <p:ph type="body" sz="quarter" idx="51" hasCustomPrompt="1"/>
          </p:nvPr>
        </p:nvSpPr>
        <p:spPr bwMode="gray">
          <a:xfrm>
            <a:off x="1485900" y="5370262"/>
            <a:ext cx="5488761" cy="836768"/>
          </a:xfrm>
        </p:spPr>
        <p:txBody>
          <a:bodyPr wrap="square">
            <a:spAutoFit/>
          </a:bodyPr>
          <a:lstStyle>
            <a:lvl1pPr>
              <a:defRPr sz="1000">
                <a:solidFill>
                  <a:schemeClr val="accent2"/>
                </a:solidFill>
              </a:defRPr>
            </a:lvl1pPr>
            <a:lvl2pPr marL="0" marR="0" indent="0" algn="l" defTabSz="914400" rtl="0" eaLnBrk="1" fontAlgn="base" latinLnBrk="0" hangingPunct="1">
              <a:lnSpc>
                <a:spcPct val="106000"/>
              </a:lnSpc>
              <a:spcBef>
                <a:spcPts val="200"/>
              </a:spcBef>
              <a:spcAft>
                <a:spcPts val="0"/>
              </a:spcAft>
              <a:buClrTx/>
              <a:buSzTx/>
              <a:buFontTx/>
              <a:buNone/>
              <a:tabLst/>
              <a:defRPr sz="900">
                <a:solidFill>
                  <a:schemeClr val="bg2"/>
                </a:solidFill>
              </a:defRPr>
            </a:lvl2pPr>
            <a:lvl3pPr>
              <a:defRPr sz="1000"/>
            </a:lvl3pPr>
            <a:lvl4pPr>
              <a:defRPr sz="1000"/>
            </a:lvl4pPr>
            <a:lvl5pPr marL="0" indent="0">
              <a:buNone/>
              <a:defRPr sz="1200">
                <a:solidFill>
                  <a:schemeClr val="accent3"/>
                </a:solidFill>
              </a:defRPr>
            </a:lvl5pPr>
          </a:lstStyle>
          <a:p>
            <a:pPr lvl="1"/>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p:txBody>
      </p:sp>
      <p:sp>
        <p:nvSpPr>
          <p:cNvPr id="57" name="Textplatzhalter 12">
            <a:extLst>
              <a:ext uri="{FF2B5EF4-FFF2-40B4-BE49-F238E27FC236}">
                <a16:creationId xmlns:a16="http://schemas.microsoft.com/office/drawing/2014/main" id="{14E52239-0B41-4EF5-8B95-1BFC25885969}"/>
              </a:ext>
            </a:extLst>
          </p:cNvPr>
          <p:cNvSpPr>
            <a:spLocks noGrp="1"/>
          </p:cNvSpPr>
          <p:nvPr>
            <p:ph type="body" sz="quarter" idx="52" hasCustomPrompt="1"/>
          </p:nvPr>
        </p:nvSpPr>
        <p:spPr bwMode="gray">
          <a:xfrm>
            <a:off x="1485900" y="4139632"/>
            <a:ext cx="5488761" cy="836768"/>
          </a:xfrm>
        </p:spPr>
        <p:txBody>
          <a:bodyPr wrap="square">
            <a:spAutoFit/>
          </a:bodyPr>
          <a:lstStyle>
            <a:lvl1pPr>
              <a:defRPr sz="1000">
                <a:solidFill>
                  <a:schemeClr val="accent2"/>
                </a:solidFill>
              </a:defRPr>
            </a:lvl1pPr>
            <a:lvl2pPr marL="0" marR="0" indent="0" algn="l" defTabSz="914400" rtl="0" eaLnBrk="1" fontAlgn="base" latinLnBrk="0" hangingPunct="1">
              <a:lnSpc>
                <a:spcPct val="106000"/>
              </a:lnSpc>
              <a:spcBef>
                <a:spcPts val="200"/>
              </a:spcBef>
              <a:spcAft>
                <a:spcPts val="0"/>
              </a:spcAft>
              <a:buClrTx/>
              <a:buSzTx/>
              <a:buFontTx/>
              <a:buNone/>
              <a:tabLst/>
              <a:defRPr sz="900">
                <a:solidFill>
                  <a:schemeClr val="bg2"/>
                </a:solidFill>
              </a:defRPr>
            </a:lvl2pPr>
            <a:lvl3pPr>
              <a:defRPr sz="1000"/>
            </a:lvl3pPr>
            <a:lvl4pPr>
              <a:defRPr sz="1000"/>
            </a:lvl4pPr>
            <a:lvl5pPr marL="0" indent="0">
              <a:buNone/>
              <a:defRPr sz="1200">
                <a:solidFill>
                  <a:schemeClr val="accent3"/>
                </a:solidFill>
              </a:defRPr>
            </a:lvl5pPr>
          </a:lstStyle>
          <a:p>
            <a:pPr lvl="1"/>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p:txBody>
      </p:sp>
      <p:sp>
        <p:nvSpPr>
          <p:cNvPr id="58" name="Textplatzhalter 12">
            <a:extLst>
              <a:ext uri="{FF2B5EF4-FFF2-40B4-BE49-F238E27FC236}">
                <a16:creationId xmlns:a16="http://schemas.microsoft.com/office/drawing/2014/main" id="{14E52239-0B41-4EF5-8B95-1BFC25885969}"/>
              </a:ext>
            </a:extLst>
          </p:cNvPr>
          <p:cNvSpPr>
            <a:spLocks noGrp="1"/>
          </p:cNvSpPr>
          <p:nvPr>
            <p:ph type="body" sz="quarter" idx="53" hasCustomPrompt="1"/>
          </p:nvPr>
        </p:nvSpPr>
        <p:spPr bwMode="gray">
          <a:xfrm>
            <a:off x="1485900" y="2886142"/>
            <a:ext cx="5488761" cy="836768"/>
          </a:xfrm>
        </p:spPr>
        <p:txBody>
          <a:bodyPr wrap="square">
            <a:spAutoFit/>
          </a:bodyPr>
          <a:lstStyle>
            <a:lvl1pPr>
              <a:defRPr sz="1000">
                <a:solidFill>
                  <a:schemeClr val="accent2"/>
                </a:solidFill>
              </a:defRPr>
            </a:lvl1pPr>
            <a:lvl2pPr marL="0" marR="0" indent="0" algn="l" defTabSz="914400" rtl="0" eaLnBrk="1" fontAlgn="base" latinLnBrk="0" hangingPunct="1">
              <a:lnSpc>
                <a:spcPct val="106000"/>
              </a:lnSpc>
              <a:spcBef>
                <a:spcPts val="200"/>
              </a:spcBef>
              <a:spcAft>
                <a:spcPts val="0"/>
              </a:spcAft>
              <a:buClrTx/>
              <a:buSzTx/>
              <a:buFontTx/>
              <a:buNone/>
              <a:tabLst/>
              <a:defRPr sz="900">
                <a:solidFill>
                  <a:schemeClr val="bg2"/>
                </a:solidFill>
              </a:defRPr>
            </a:lvl2pPr>
            <a:lvl3pPr>
              <a:defRPr sz="1000"/>
            </a:lvl3pPr>
            <a:lvl4pPr>
              <a:defRPr sz="1000"/>
            </a:lvl4pPr>
            <a:lvl5pPr marL="0" indent="0">
              <a:buNone/>
              <a:defRPr sz="1200">
                <a:solidFill>
                  <a:schemeClr val="accent3"/>
                </a:solidFill>
              </a:defRPr>
            </a:lvl5pPr>
          </a:lstStyle>
          <a:p>
            <a:pPr lvl="1"/>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p:txBody>
      </p:sp>
      <p:sp>
        <p:nvSpPr>
          <p:cNvPr id="4" name="Fußzeilenplatzhalter 3"/>
          <p:cNvSpPr>
            <a:spLocks noGrp="1"/>
          </p:cNvSpPr>
          <p:nvPr>
            <p:ph type="ftr" sz="quarter" idx="54"/>
          </p:nvPr>
        </p:nvSpPr>
        <p:spPr/>
        <p:txBody>
          <a:bodyPr/>
          <a:lstStyle/>
          <a:p>
            <a:r>
              <a:rPr lang="en-US" dirty="0"/>
              <a:t>Placeholder Document Name  I  Date</a:t>
            </a:r>
          </a:p>
        </p:txBody>
      </p:sp>
    </p:spTree>
    <p:extLst>
      <p:ext uri="{BB962C8B-B14F-4D97-AF65-F5344CB8AC3E}">
        <p14:creationId xmlns:p14="http://schemas.microsoft.com/office/powerpoint/2010/main" val="971322876"/>
      </p:ext>
    </p:extLst>
  </p:cSld>
  <p:clrMapOvr>
    <a:masterClrMapping/>
  </p:clrMapOvr>
  <p:extLst>
    <p:ext uri="{DCECCB84-F9BA-43D5-87BE-67443E8EF086}">
      <p15:sldGuideLst xmlns:p15="http://schemas.microsoft.com/office/powerpoint/2012/main">
        <p15:guide id="1" orient="horz" pos="397" userDrawn="1">
          <p15:clr>
            <a:srgbClr val="FBAE40"/>
          </p15:clr>
        </p15:guide>
        <p15:guide id="2" orient="horz" pos="6384" userDrawn="1">
          <p15:clr>
            <a:srgbClr val="FBAE40"/>
          </p15:clr>
        </p15:guide>
        <p15:guide id="3" pos="2427" userDrawn="1">
          <p15:clr>
            <a:srgbClr val="FBAE40"/>
          </p15:clr>
        </p15:guide>
        <p15:guide id="4" pos="2336" userDrawn="1">
          <p15:clr>
            <a:srgbClr val="FBAE40"/>
          </p15:clr>
        </p15:guide>
        <p15:guide id="5" orient="horz" pos="578"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graphicFrame>
        <p:nvGraphicFramePr>
          <p:cNvPr id="20" name="Objekt 19" hidden="1">
            <a:extLst>
              <a:ext uri="{FF2B5EF4-FFF2-40B4-BE49-F238E27FC236}">
                <a16:creationId xmlns:a16="http://schemas.microsoft.com/office/drawing/2014/main" id="{6891F096-6043-4BF9-8371-D1A126016511}"/>
              </a:ext>
            </a:extLst>
          </p:cNvPr>
          <p:cNvGraphicFramePr>
            <a:graphicFrameLocks noChangeAspect="1"/>
          </p:cNvGraphicFramePr>
          <p:nvPr userDrawn="1">
            <p:custDataLst>
              <p:tags r:id="rId1"/>
            </p:custDataLst>
            <p:extLst>
              <p:ext uri="{D42A27DB-BD31-4B8C-83A1-F6EECF244321}">
                <p14:modId xmlns:p14="http://schemas.microsoft.com/office/powerpoint/2010/main" val="2602754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0" name="Objekt 19" hidden="1">
                        <a:extLst>
                          <a:ext uri="{FF2B5EF4-FFF2-40B4-BE49-F238E27FC236}">
                            <a16:creationId xmlns:a16="http://schemas.microsoft.com/office/drawing/2014/main" id="{6891F096-6043-4BF9-8371-D1A1260165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hteck 18" hidden="1">
            <a:extLst>
              <a:ext uri="{FF2B5EF4-FFF2-40B4-BE49-F238E27FC236}">
                <a16:creationId xmlns:a16="http://schemas.microsoft.com/office/drawing/2014/main" id="{6DEFFC93-5A73-4669-9294-867CE1AD2CF7}"/>
              </a:ext>
            </a:extLst>
          </p:cNvPr>
          <p:cNvSpPr/>
          <p:nvPr userDrawn="1">
            <p:custDataLst>
              <p:tags r:id="rId2"/>
            </p:custDataLst>
          </p:nvPr>
        </p:nvSpPr>
        <p:spPr bwMode="auto">
          <a:xfrm>
            <a:off x="0" y="0"/>
            <a:ext cx="158750" cy="158750"/>
          </a:xfrm>
          <a:prstGeom prst="rect">
            <a:avLst/>
          </a:prstGeom>
          <a:solidFill>
            <a:srgbClr val="E6EAEE"/>
          </a:solidFill>
          <a:ln w="6350">
            <a:solidFill>
              <a:srgbClr val="E6EAEE"/>
            </a:solidFill>
            <a:miter lim="800000"/>
            <a:headEnd/>
            <a:tailEnd/>
          </a:ln>
        </p:spPr>
        <p:txBody>
          <a:bodyPr vert="horz" wrap="none" lIns="0" tIns="0" rIns="0" bIns="0" numCol="1" spcCol="0" rtlCol="0" anchor="ctr" anchorCtr="0">
            <a:noAutofit/>
          </a:bodyPr>
          <a:lstStyle/>
          <a:p>
            <a:pPr marL="0" lvl="0" indent="0" algn="ctr" defTabSz="963613" eaLnBrk="0" hangingPunct="0">
              <a:spcBef>
                <a:spcPts val="800"/>
              </a:spcBef>
              <a:buClr>
                <a:schemeClr val="tx1"/>
              </a:buClr>
              <a:buFontTx/>
              <a:buNone/>
              <a:tabLst>
                <a:tab pos="1257300" algn="l"/>
              </a:tabLst>
            </a:pPr>
            <a:endParaRPr lang="en-US" sz="1600" b="0" i="0" baseline="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el 1">
            <a:extLst>
              <a:ext uri="{FF2B5EF4-FFF2-40B4-BE49-F238E27FC236}">
                <a16:creationId xmlns:a16="http://schemas.microsoft.com/office/drawing/2014/main" id="{AB4C2818-3ED9-40FD-A530-B3A8B386744C}"/>
              </a:ext>
            </a:extLst>
          </p:cNvPr>
          <p:cNvSpPr>
            <a:spLocks noGrp="1"/>
          </p:cNvSpPr>
          <p:nvPr>
            <p:ph type="title" hasCustomPrompt="1"/>
          </p:nvPr>
        </p:nvSpPr>
        <p:spPr bwMode="gray">
          <a:xfrm>
            <a:off x="612775" y="934469"/>
            <a:ext cx="6335713" cy="233910"/>
          </a:xfrm>
        </p:spPr>
        <p:txBody>
          <a:bodyPr/>
          <a:lstStyle>
            <a:lvl1pPr>
              <a:defRPr>
                <a:latin typeface="DWS Sans Light" panose="02010404010101010104" pitchFamily="50" charset="0"/>
                <a:cs typeface="DWS Sans Light" panose="02010404010101010104" pitchFamily="50" charset="0"/>
              </a:defRPr>
            </a:lvl1pPr>
          </a:lstStyle>
          <a:p>
            <a:r>
              <a:rPr lang="en-US" dirty="0"/>
              <a:t>Placeholder title</a:t>
            </a:r>
            <a:endParaRPr lang="de-DE" dirty="0"/>
          </a:p>
        </p:txBody>
      </p:sp>
      <p:sp>
        <p:nvSpPr>
          <p:cNvPr id="3" name="Foliennummernplatzhalter 2">
            <a:extLst>
              <a:ext uri="{FF2B5EF4-FFF2-40B4-BE49-F238E27FC236}">
                <a16:creationId xmlns:a16="http://schemas.microsoft.com/office/drawing/2014/main" id="{040741AE-A581-45AE-97FA-7FB35E3E6F48}"/>
              </a:ext>
            </a:extLst>
          </p:cNvPr>
          <p:cNvSpPr>
            <a:spLocks noGrp="1"/>
          </p:cNvSpPr>
          <p:nvPr>
            <p:ph type="sldNum" sz="quarter" idx="10"/>
          </p:nvPr>
        </p:nvSpPr>
        <p:spPr bwMode="gray">
          <a:xfrm>
            <a:off x="612279" y="10277916"/>
            <a:ext cx="288000" cy="107722"/>
          </a:xfrm>
        </p:spPr>
        <p:txBody>
          <a:bodyPr/>
          <a:lstStyle/>
          <a:p>
            <a:fld id="{3C189ADE-B34A-4B7F-8705-8D7FBD301B3C}" type="slidenum">
              <a:rPr lang="de-DE" smtClean="0"/>
              <a:pPr/>
              <a:t>‹N›</a:t>
            </a:fld>
            <a:endParaRPr lang="de-DE" dirty="0"/>
          </a:p>
        </p:txBody>
      </p:sp>
      <p:sp>
        <p:nvSpPr>
          <p:cNvPr id="13" name="Textplatzhalter 12">
            <a:extLst>
              <a:ext uri="{FF2B5EF4-FFF2-40B4-BE49-F238E27FC236}">
                <a16:creationId xmlns:a16="http://schemas.microsoft.com/office/drawing/2014/main" id="{14E52239-0B41-4EF5-8B95-1BFC25885969}"/>
              </a:ext>
            </a:extLst>
          </p:cNvPr>
          <p:cNvSpPr>
            <a:spLocks noGrp="1"/>
          </p:cNvSpPr>
          <p:nvPr>
            <p:ph type="body" sz="quarter" idx="12" hasCustomPrompt="1"/>
          </p:nvPr>
        </p:nvSpPr>
        <p:spPr bwMode="gray">
          <a:xfrm>
            <a:off x="612278" y="1330372"/>
            <a:ext cx="3096121" cy="2044149"/>
          </a:xfrm>
        </p:spPr>
        <p:txBody>
          <a:bodyPr wrap="square">
            <a:spAutoFit/>
          </a:bodyPr>
          <a:lstStyle>
            <a:lvl1pPr>
              <a:defRPr sz="1000">
                <a:solidFill>
                  <a:schemeClr val="accent2"/>
                </a:solidFill>
              </a:defRPr>
            </a:lvl1pPr>
            <a:lvl2pPr marL="0" marR="0" indent="0" algn="l" defTabSz="914400" rtl="0" eaLnBrk="1" fontAlgn="base" latinLnBrk="0" hangingPunct="1">
              <a:lnSpc>
                <a:spcPct val="106000"/>
              </a:lnSpc>
              <a:spcBef>
                <a:spcPts val="200"/>
              </a:spcBef>
              <a:spcAft>
                <a:spcPts val="0"/>
              </a:spcAft>
              <a:buClrTx/>
              <a:buSzTx/>
              <a:buFontTx/>
              <a:buNone/>
              <a:tabLst/>
              <a:defRPr sz="900">
                <a:solidFill>
                  <a:schemeClr val="bg2"/>
                </a:solidFill>
              </a:defRPr>
            </a:lvl2pPr>
            <a:lvl3pPr>
              <a:defRPr sz="1000"/>
            </a:lvl3pPr>
            <a:lvl4pPr>
              <a:defRPr sz="1000"/>
            </a:lvl4pPr>
            <a:lvl5pPr marL="0" indent="0">
              <a:buNone/>
              <a:defRPr sz="1200">
                <a:solidFill>
                  <a:schemeClr val="accent3"/>
                </a:solidFill>
              </a:defRPr>
            </a:lvl5pPr>
          </a:lstStyle>
          <a:p>
            <a:pPr lvl="1"/>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lvl="1"/>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p:txBody>
      </p:sp>
      <p:sp>
        <p:nvSpPr>
          <p:cNvPr id="25" name="Textplatzhalter 12">
            <a:extLst>
              <a:ext uri="{FF2B5EF4-FFF2-40B4-BE49-F238E27FC236}">
                <a16:creationId xmlns:a16="http://schemas.microsoft.com/office/drawing/2014/main" id="{CDA5A2BA-F61B-41BF-B79F-B5BB15BD5D3E}"/>
              </a:ext>
            </a:extLst>
          </p:cNvPr>
          <p:cNvSpPr>
            <a:spLocks noGrp="1"/>
          </p:cNvSpPr>
          <p:nvPr>
            <p:ph type="body" sz="quarter" idx="15" hasCustomPrompt="1"/>
          </p:nvPr>
        </p:nvSpPr>
        <p:spPr bwMode="gray">
          <a:xfrm>
            <a:off x="612278" y="640515"/>
            <a:ext cx="173124" cy="169277"/>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1100" b="0">
                <a:solidFill>
                  <a:schemeClr val="accent2"/>
                </a:solidFill>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X</a:t>
            </a:r>
          </a:p>
        </p:txBody>
      </p:sp>
      <p:sp>
        <p:nvSpPr>
          <p:cNvPr id="29" name="Textplatzhalter 12">
            <a:extLst>
              <a:ext uri="{FF2B5EF4-FFF2-40B4-BE49-F238E27FC236}">
                <a16:creationId xmlns:a16="http://schemas.microsoft.com/office/drawing/2014/main" id="{EEF72869-3591-49DF-B605-493E2787BF59}"/>
              </a:ext>
            </a:extLst>
          </p:cNvPr>
          <p:cNvSpPr>
            <a:spLocks noGrp="1"/>
          </p:cNvSpPr>
          <p:nvPr>
            <p:ph type="body" sz="quarter" idx="16" hasCustomPrompt="1"/>
          </p:nvPr>
        </p:nvSpPr>
        <p:spPr bwMode="gray">
          <a:xfrm>
            <a:off x="828303" y="640515"/>
            <a:ext cx="6120680" cy="169277"/>
          </a:xfrm>
        </p:spPr>
        <p:txBody>
          <a:bodyPr wrap="squar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1100" b="0">
                <a:solidFill>
                  <a:schemeClr val="accent3"/>
                </a:solidFill>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Placeholder Chapter</a:t>
            </a:r>
          </a:p>
        </p:txBody>
      </p:sp>
      <p:sp>
        <p:nvSpPr>
          <p:cNvPr id="6" name="Diagrammplatzhalter 5"/>
          <p:cNvSpPr>
            <a:spLocks noGrp="1"/>
          </p:cNvSpPr>
          <p:nvPr>
            <p:ph type="chart" sz="quarter" idx="17"/>
          </p:nvPr>
        </p:nvSpPr>
        <p:spPr>
          <a:xfrm>
            <a:off x="612775" y="4341335"/>
            <a:ext cx="3095625" cy="2109292"/>
          </a:xfrm>
        </p:spPr>
        <p:txBody>
          <a:bodyPr/>
          <a:lstStyle/>
          <a:p>
            <a:endParaRPr lang="de-DE" dirty="0"/>
          </a:p>
        </p:txBody>
      </p:sp>
      <p:sp>
        <p:nvSpPr>
          <p:cNvPr id="16" name="Textplatzhalter 4"/>
          <p:cNvSpPr>
            <a:spLocks noGrp="1"/>
          </p:cNvSpPr>
          <p:nvPr>
            <p:ph type="body" sz="quarter" idx="32"/>
          </p:nvPr>
        </p:nvSpPr>
        <p:spPr>
          <a:xfrm>
            <a:off x="612775" y="3764910"/>
            <a:ext cx="3095624" cy="171132"/>
          </a:xfrm>
        </p:spPr>
        <p:txBody>
          <a:bodyPr/>
          <a:lstStyle/>
          <a:p>
            <a:pPr lvl="0"/>
            <a:r>
              <a:rPr lang="de-DE" dirty="0"/>
              <a:t>Textmasterformat bearbeiten</a:t>
            </a:r>
          </a:p>
        </p:txBody>
      </p:sp>
      <p:sp>
        <p:nvSpPr>
          <p:cNvPr id="17" name="Textplatzhalter 9"/>
          <p:cNvSpPr>
            <a:spLocks noGrp="1"/>
          </p:cNvSpPr>
          <p:nvPr>
            <p:ph type="body" sz="quarter" idx="33" hasCustomPrompt="1"/>
          </p:nvPr>
        </p:nvSpPr>
        <p:spPr>
          <a:xfrm>
            <a:off x="612775" y="3969698"/>
            <a:ext cx="3095624" cy="292262"/>
          </a:xfrm>
        </p:spPr>
        <p:txBody>
          <a:bodyPr/>
          <a:lstStyle>
            <a:lvl2pPr marL="0" marR="0" indent="0" algn="l" defTabSz="914400" rtl="0" eaLnBrk="1" fontAlgn="base" latinLnBrk="0" hangingPunct="1">
              <a:lnSpc>
                <a:spcPct val="100000"/>
              </a:lnSpc>
              <a:spcBef>
                <a:spcPts val="0"/>
              </a:spcBef>
              <a:spcAft>
                <a:spcPts val="0"/>
              </a:spcAft>
              <a:buClrTx/>
              <a:buSzTx/>
              <a:buFontTx/>
              <a:buNone/>
              <a:tabLst/>
              <a:defRPr/>
            </a:lvl2pPr>
          </a:lstStyle>
          <a:p>
            <a:pPr lvl="1"/>
            <a:r>
              <a:rPr lang="de-DE" dirty="0"/>
              <a:t>Zweite Ebene</a:t>
            </a:r>
          </a:p>
          <a:p>
            <a:pPr marL="0" marR="0" lvl="1" indent="0" algn="l" defTabSz="914400" rtl="0" eaLnBrk="1" fontAlgn="base" latinLnBrk="0" hangingPunct="1">
              <a:lnSpc>
                <a:spcPct val="106000"/>
              </a:lnSpc>
              <a:spcBef>
                <a:spcPts val="200"/>
              </a:spcBef>
              <a:spcAft>
                <a:spcPts val="0"/>
              </a:spcAft>
              <a:buClrTx/>
              <a:buSzTx/>
              <a:buFontTx/>
              <a:buNone/>
              <a:tabLst/>
              <a:defRPr/>
            </a:pPr>
            <a:r>
              <a:rPr lang="de-DE" dirty="0"/>
              <a:t>Zweite Ebene</a:t>
            </a:r>
          </a:p>
          <a:p>
            <a:pPr lvl="1"/>
            <a:endParaRPr lang="de-DE" dirty="0"/>
          </a:p>
        </p:txBody>
      </p:sp>
      <p:sp>
        <p:nvSpPr>
          <p:cNvPr id="88" name="Textplatzhalter 12">
            <a:extLst>
              <a:ext uri="{FF2B5EF4-FFF2-40B4-BE49-F238E27FC236}">
                <a16:creationId xmlns:a16="http://schemas.microsoft.com/office/drawing/2014/main" id="{CDA5A2BA-F61B-41BF-B79F-B5BB15BD5D3E}"/>
              </a:ext>
            </a:extLst>
          </p:cNvPr>
          <p:cNvSpPr>
            <a:spLocks noGrp="1"/>
          </p:cNvSpPr>
          <p:nvPr>
            <p:ph type="body" sz="quarter" idx="34" hasCustomPrompt="1"/>
          </p:nvPr>
        </p:nvSpPr>
        <p:spPr bwMode="gray">
          <a:xfrm>
            <a:off x="637957" y="6586636"/>
            <a:ext cx="173124" cy="169277"/>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1100" b="0">
                <a:solidFill>
                  <a:schemeClr val="accent2"/>
                </a:solidFill>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X</a:t>
            </a:r>
          </a:p>
        </p:txBody>
      </p:sp>
      <p:sp>
        <p:nvSpPr>
          <p:cNvPr id="89" name="Textplatzhalter 12">
            <a:extLst>
              <a:ext uri="{FF2B5EF4-FFF2-40B4-BE49-F238E27FC236}">
                <a16:creationId xmlns:a16="http://schemas.microsoft.com/office/drawing/2014/main" id="{EEF72869-3591-49DF-B605-493E2787BF59}"/>
              </a:ext>
            </a:extLst>
          </p:cNvPr>
          <p:cNvSpPr>
            <a:spLocks noGrp="1"/>
          </p:cNvSpPr>
          <p:nvPr>
            <p:ph type="body" sz="quarter" idx="35" hasCustomPrompt="1"/>
          </p:nvPr>
        </p:nvSpPr>
        <p:spPr bwMode="gray">
          <a:xfrm>
            <a:off x="853982" y="6586636"/>
            <a:ext cx="6120680" cy="169277"/>
          </a:xfrm>
        </p:spPr>
        <p:txBody>
          <a:bodyPr wrap="squar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1100" b="0">
                <a:solidFill>
                  <a:schemeClr val="accent3"/>
                </a:solidFill>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Placeholder Chapter</a:t>
            </a:r>
          </a:p>
        </p:txBody>
      </p:sp>
      <p:sp>
        <p:nvSpPr>
          <p:cNvPr id="90" name="Textplatzhalter 4"/>
          <p:cNvSpPr>
            <a:spLocks noGrp="1"/>
          </p:cNvSpPr>
          <p:nvPr>
            <p:ph type="body" sz="quarter" idx="36"/>
          </p:nvPr>
        </p:nvSpPr>
        <p:spPr>
          <a:xfrm>
            <a:off x="624204" y="6777349"/>
            <a:ext cx="6350457" cy="183999"/>
          </a:xfrm>
        </p:spPr>
        <p:txBody>
          <a:bodyPr/>
          <a:lstStyle/>
          <a:p>
            <a:pPr lvl="0"/>
            <a:r>
              <a:rPr lang="de-DE" dirty="0"/>
              <a:t>Textmasterformat bearbeiten</a:t>
            </a:r>
          </a:p>
        </p:txBody>
      </p:sp>
      <p:sp>
        <p:nvSpPr>
          <p:cNvPr id="91" name="Textplatzhalter 9"/>
          <p:cNvSpPr>
            <a:spLocks noGrp="1"/>
          </p:cNvSpPr>
          <p:nvPr>
            <p:ph type="body" sz="quarter" idx="37" hasCustomPrompt="1"/>
          </p:nvPr>
        </p:nvSpPr>
        <p:spPr>
          <a:xfrm>
            <a:off x="624204" y="6959278"/>
            <a:ext cx="6350457" cy="188879"/>
          </a:xfrm>
        </p:spPr>
        <p:txBody>
          <a:bodyPr/>
          <a:lstStyle>
            <a:lvl2pPr marL="0" marR="0" indent="0" algn="l" defTabSz="914400" rtl="0" eaLnBrk="1" fontAlgn="base" latinLnBrk="0" hangingPunct="1">
              <a:lnSpc>
                <a:spcPct val="100000"/>
              </a:lnSpc>
              <a:spcBef>
                <a:spcPts val="0"/>
              </a:spcBef>
              <a:spcAft>
                <a:spcPts val="0"/>
              </a:spcAft>
              <a:buClrTx/>
              <a:buSzTx/>
              <a:buFontTx/>
              <a:buNone/>
              <a:tabLst/>
              <a:defRPr b="1"/>
            </a:lvl2pPr>
          </a:lstStyle>
          <a:p>
            <a:pPr lvl="1"/>
            <a:r>
              <a:rPr lang="de-DE" dirty="0"/>
              <a:t>Zweite Ebene</a:t>
            </a:r>
          </a:p>
        </p:txBody>
      </p:sp>
      <p:sp>
        <p:nvSpPr>
          <p:cNvPr id="92" name="Textplatzhalter 12">
            <a:extLst>
              <a:ext uri="{FF2B5EF4-FFF2-40B4-BE49-F238E27FC236}">
                <a16:creationId xmlns:a16="http://schemas.microsoft.com/office/drawing/2014/main" id="{14E52239-0B41-4EF5-8B95-1BFC25885969}"/>
              </a:ext>
            </a:extLst>
          </p:cNvPr>
          <p:cNvSpPr>
            <a:spLocks noGrp="1"/>
          </p:cNvSpPr>
          <p:nvPr>
            <p:ph type="body" sz="quarter" idx="38" hasCustomPrompt="1"/>
          </p:nvPr>
        </p:nvSpPr>
        <p:spPr bwMode="gray">
          <a:xfrm>
            <a:off x="1686698" y="7168633"/>
            <a:ext cx="5287963" cy="836768"/>
          </a:xfrm>
        </p:spPr>
        <p:txBody>
          <a:bodyPr wrap="square">
            <a:spAutoFit/>
          </a:bodyPr>
          <a:lstStyle>
            <a:lvl1pPr>
              <a:defRPr sz="1000">
                <a:solidFill>
                  <a:schemeClr val="accent2"/>
                </a:solidFill>
              </a:defRPr>
            </a:lvl1pPr>
            <a:lvl2pPr marL="0" marR="0" indent="0" algn="l" defTabSz="914400" rtl="0" eaLnBrk="1" fontAlgn="base" latinLnBrk="0" hangingPunct="1">
              <a:lnSpc>
                <a:spcPct val="106000"/>
              </a:lnSpc>
              <a:spcBef>
                <a:spcPts val="200"/>
              </a:spcBef>
              <a:spcAft>
                <a:spcPts val="0"/>
              </a:spcAft>
              <a:buClrTx/>
              <a:buSzTx/>
              <a:buFontTx/>
              <a:buNone/>
              <a:tabLst/>
              <a:defRPr sz="900">
                <a:solidFill>
                  <a:schemeClr val="bg2"/>
                </a:solidFill>
              </a:defRPr>
            </a:lvl2pPr>
            <a:lvl3pPr>
              <a:defRPr sz="1000"/>
            </a:lvl3pPr>
            <a:lvl4pPr>
              <a:defRPr sz="1000"/>
            </a:lvl4pPr>
            <a:lvl5pPr marL="0" indent="0">
              <a:buNone/>
              <a:defRPr sz="1200">
                <a:solidFill>
                  <a:schemeClr val="accent3"/>
                </a:solidFill>
              </a:defRPr>
            </a:lvl5pPr>
          </a:lstStyle>
          <a:p>
            <a:pPr lvl="1"/>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p:txBody>
      </p:sp>
      <p:sp>
        <p:nvSpPr>
          <p:cNvPr id="93" name="Textplatzhalter 12">
            <a:extLst>
              <a:ext uri="{FF2B5EF4-FFF2-40B4-BE49-F238E27FC236}">
                <a16:creationId xmlns:a16="http://schemas.microsoft.com/office/drawing/2014/main" id="{CDA5A2BA-F61B-41BF-B79F-B5BB15BD5D3E}"/>
              </a:ext>
            </a:extLst>
          </p:cNvPr>
          <p:cNvSpPr>
            <a:spLocks noGrp="1"/>
          </p:cNvSpPr>
          <p:nvPr>
            <p:ph type="body" sz="quarter" idx="39" hasCustomPrompt="1"/>
          </p:nvPr>
        </p:nvSpPr>
        <p:spPr bwMode="gray">
          <a:xfrm>
            <a:off x="651710" y="8281654"/>
            <a:ext cx="173124" cy="169277"/>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1100" b="0">
                <a:solidFill>
                  <a:schemeClr val="accent2"/>
                </a:solidFill>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X</a:t>
            </a:r>
          </a:p>
        </p:txBody>
      </p:sp>
      <p:sp>
        <p:nvSpPr>
          <p:cNvPr id="94" name="Textplatzhalter 12">
            <a:extLst>
              <a:ext uri="{FF2B5EF4-FFF2-40B4-BE49-F238E27FC236}">
                <a16:creationId xmlns:a16="http://schemas.microsoft.com/office/drawing/2014/main" id="{EEF72869-3591-49DF-B605-493E2787BF59}"/>
              </a:ext>
            </a:extLst>
          </p:cNvPr>
          <p:cNvSpPr>
            <a:spLocks noGrp="1"/>
          </p:cNvSpPr>
          <p:nvPr>
            <p:ph type="body" sz="quarter" idx="40" hasCustomPrompt="1"/>
          </p:nvPr>
        </p:nvSpPr>
        <p:spPr bwMode="gray">
          <a:xfrm>
            <a:off x="867735" y="8281654"/>
            <a:ext cx="6120680" cy="169277"/>
          </a:xfrm>
        </p:spPr>
        <p:txBody>
          <a:bodyPr wrap="squar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1100" b="0">
                <a:solidFill>
                  <a:schemeClr val="accent3"/>
                </a:solidFill>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Placeholder Chapter</a:t>
            </a:r>
          </a:p>
        </p:txBody>
      </p:sp>
      <p:sp>
        <p:nvSpPr>
          <p:cNvPr id="95" name="Textplatzhalter 4"/>
          <p:cNvSpPr>
            <a:spLocks noGrp="1"/>
          </p:cNvSpPr>
          <p:nvPr>
            <p:ph type="body" sz="quarter" idx="41"/>
          </p:nvPr>
        </p:nvSpPr>
        <p:spPr>
          <a:xfrm>
            <a:off x="637957" y="8472367"/>
            <a:ext cx="6350457" cy="183999"/>
          </a:xfrm>
        </p:spPr>
        <p:txBody>
          <a:bodyPr/>
          <a:lstStyle/>
          <a:p>
            <a:pPr lvl="0"/>
            <a:r>
              <a:rPr lang="de-DE" dirty="0"/>
              <a:t>Textmasterformat bearbeiten</a:t>
            </a:r>
          </a:p>
        </p:txBody>
      </p:sp>
      <p:sp>
        <p:nvSpPr>
          <p:cNvPr id="96" name="Textplatzhalter 9"/>
          <p:cNvSpPr>
            <a:spLocks noGrp="1"/>
          </p:cNvSpPr>
          <p:nvPr>
            <p:ph type="body" sz="quarter" idx="42" hasCustomPrompt="1"/>
          </p:nvPr>
        </p:nvSpPr>
        <p:spPr>
          <a:xfrm>
            <a:off x="637957" y="8654296"/>
            <a:ext cx="6350457" cy="188879"/>
          </a:xfrm>
        </p:spPr>
        <p:txBody>
          <a:bodyPr/>
          <a:lstStyle>
            <a:lvl2pPr marL="0" marR="0" indent="0" algn="l" defTabSz="914400" rtl="0" eaLnBrk="1" fontAlgn="base" latinLnBrk="0" hangingPunct="1">
              <a:lnSpc>
                <a:spcPct val="100000"/>
              </a:lnSpc>
              <a:spcBef>
                <a:spcPts val="0"/>
              </a:spcBef>
              <a:spcAft>
                <a:spcPts val="0"/>
              </a:spcAft>
              <a:buClrTx/>
              <a:buSzTx/>
              <a:buFontTx/>
              <a:buNone/>
              <a:tabLst/>
              <a:defRPr b="1"/>
            </a:lvl2pPr>
          </a:lstStyle>
          <a:p>
            <a:pPr lvl="1"/>
            <a:r>
              <a:rPr lang="de-DE" dirty="0"/>
              <a:t>Zweite Ebene</a:t>
            </a:r>
          </a:p>
        </p:txBody>
      </p:sp>
      <p:sp>
        <p:nvSpPr>
          <p:cNvPr id="97" name="Textplatzhalter 12">
            <a:extLst>
              <a:ext uri="{FF2B5EF4-FFF2-40B4-BE49-F238E27FC236}">
                <a16:creationId xmlns:a16="http://schemas.microsoft.com/office/drawing/2014/main" id="{14E52239-0B41-4EF5-8B95-1BFC25885969}"/>
              </a:ext>
            </a:extLst>
          </p:cNvPr>
          <p:cNvSpPr>
            <a:spLocks noGrp="1"/>
          </p:cNvSpPr>
          <p:nvPr>
            <p:ph type="body" sz="quarter" idx="43" hasCustomPrompt="1"/>
          </p:nvPr>
        </p:nvSpPr>
        <p:spPr bwMode="gray">
          <a:xfrm>
            <a:off x="1700451" y="8863651"/>
            <a:ext cx="5287963" cy="836768"/>
          </a:xfrm>
        </p:spPr>
        <p:txBody>
          <a:bodyPr wrap="square">
            <a:spAutoFit/>
          </a:bodyPr>
          <a:lstStyle>
            <a:lvl1pPr>
              <a:defRPr sz="1000">
                <a:solidFill>
                  <a:schemeClr val="accent2"/>
                </a:solidFill>
              </a:defRPr>
            </a:lvl1pPr>
            <a:lvl2pPr marL="0" marR="0" indent="0" algn="l" defTabSz="914400" rtl="0" eaLnBrk="1" fontAlgn="base" latinLnBrk="0" hangingPunct="1">
              <a:lnSpc>
                <a:spcPct val="106000"/>
              </a:lnSpc>
              <a:spcBef>
                <a:spcPts val="200"/>
              </a:spcBef>
              <a:spcAft>
                <a:spcPts val="0"/>
              </a:spcAft>
              <a:buClrTx/>
              <a:buSzTx/>
              <a:buFontTx/>
              <a:buNone/>
              <a:tabLst/>
              <a:defRPr sz="900">
                <a:solidFill>
                  <a:schemeClr val="bg2"/>
                </a:solidFill>
              </a:defRPr>
            </a:lvl2pPr>
            <a:lvl3pPr>
              <a:defRPr sz="1000"/>
            </a:lvl3pPr>
            <a:lvl4pPr>
              <a:defRPr sz="1000"/>
            </a:lvl4pPr>
            <a:lvl5pPr marL="0" indent="0">
              <a:buNone/>
              <a:defRPr sz="1200">
                <a:solidFill>
                  <a:schemeClr val="accent3"/>
                </a:solidFill>
              </a:defRPr>
            </a:lvl5pPr>
          </a:lstStyle>
          <a:p>
            <a:pPr lvl="1"/>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p:txBody>
      </p:sp>
      <p:sp>
        <p:nvSpPr>
          <p:cNvPr id="98" name="Textplatzhalter 4"/>
          <p:cNvSpPr>
            <a:spLocks noGrp="1"/>
          </p:cNvSpPr>
          <p:nvPr>
            <p:ph type="body" sz="quarter" idx="44"/>
          </p:nvPr>
        </p:nvSpPr>
        <p:spPr>
          <a:xfrm>
            <a:off x="3876676" y="1324856"/>
            <a:ext cx="3071811" cy="225264"/>
          </a:xfrm>
        </p:spPr>
        <p:txBody>
          <a:bodyPr/>
          <a:lstStyle/>
          <a:p>
            <a:pPr lvl="0"/>
            <a:r>
              <a:rPr lang="de-DE" dirty="0"/>
              <a:t>Textmasterformat bearbeiten</a:t>
            </a:r>
          </a:p>
        </p:txBody>
      </p:sp>
      <p:sp>
        <p:nvSpPr>
          <p:cNvPr id="99" name="Textplatzhalter 9"/>
          <p:cNvSpPr>
            <a:spLocks noGrp="1"/>
          </p:cNvSpPr>
          <p:nvPr>
            <p:ph type="body" sz="quarter" idx="45" hasCustomPrompt="1"/>
          </p:nvPr>
        </p:nvSpPr>
        <p:spPr>
          <a:xfrm>
            <a:off x="3876676" y="1506785"/>
            <a:ext cx="3071811" cy="142199"/>
          </a:xfrm>
        </p:spPr>
        <p:txBody>
          <a:bodyPr/>
          <a:lstStyle>
            <a:lvl2pPr marL="0" marR="0" indent="0" algn="l" defTabSz="914400" rtl="0" eaLnBrk="1" fontAlgn="base" latinLnBrk="0" hangingPunct="1">
              <a:lnSpc>
                <a:spcPct val="100000"/>
              </a:lnSpc>
              <a:spcBef>
                <a:spcPts val="0"/>
              </a:spcBef>
              <a:spcAft>
                <a:spcPts val="0"/>
              </a:spcAft>
              <a:buClrTx/>
              <a:buSzTx/>
              <a:buFontTx/>
              <a:buNone/>
              <a:tabLst/>
              <a:defRPr b="1"/>
            </a:lvl2pPr>
          </a:lstStyle>
          <a:p>
            <a:pPr lvl="1"/>
            <a:r>
              <a:rPr lang="de-DE" dirty="0"/>
              <a:t>Zweite Ebene</a:t>
            </a:r>
          </a:p>
        </p:txBody>
      </p:sp>
      <p:sp>
        <p:nvSpPr>
          <p:cNvPr id="100" name="Textplatzhalter 12">
            <a:extLst>
              <a:ext uri="{FF2B5EF4-FFF2-40B4-BE49-F238E27FC236}">
                <a16:creationId xmlns:a16="http://schemas.microsoft.com/office/drawing/2014/main" id="{14E52239-0B41-4EF5-8B95-1BFC25885969}"/>
              </a:ext>
            </a:extLst>
          </p:cNvPr>
          <p:cNvSpPr>
            <a:spLocks noGrp="1"/>
          </p:cNvSpPr>
          <p:nvPr>
            <p:ph type="body" sz="quarter" idx="46" hasCustomPrompt="1"/>
          </p:nvPr>
        </p:nvSpPr>
        <p:spPr bwMode="gray">
          <a:xfrm>
            <a:off x="4939171" y="1670420"/>
            <a:ext cx="2009318" cy="836768"/>
          </a:xfrm>
        </p:spPr>
        <p:txBody>
          <a:bodyPr wrap="square">
            <a:spAutoFit/>
          </a:bodyPr>
          <a:lstStyle>
            <a:lvl1pPr>
              <a:defRPr sz="1000">
                <a:solidFill>
                  <a:schemeClr val="accent2"/>
                </a:solidFill>
              </a:defRPr>
            </a:lvl1pPr>
            <a:lvl2pPr marL="0" marR="0" indent="0" algn="l" defTabSz="914400" rtl="0" eaLnBrk="1" fontAlgn="base" latinLnBrk="0" hangingPunct="1">
              <a:lnSpc>
                <a:spcPct val="106000"/>
              </a:lnSpc>
              <a:spcBef>
                <a:spcPts val="200"/>
              </a:spcBef>
              <a:spcAft>
                <a:spcPts val="0"/>
              </a:spcAft>
              <a:buClrTx/>
              <a:buSzTx/>
              <a:buFontTx/>
              <a:buNone/>
              <a:tabLst/>
              <a:defRPr sz="900">
                <a:solidFill>
                  <a:schemeClr val="bg2"/>
                </a:solidFill>
              </a:defRPr>
            </a:lvl2pPr>
            <a:lvl3pPr>
              <a:defRPr sz="1000"/>
            </a:lvl3pPr>
            <a:lvl4pPr>
              <a:defRPr sz="1000"/>
            </a:lvl4pPr>
            <a:lvl5pPr marL="0" indent="0">
              <a:buNone/>
              <a:defRPr sz="1200">
                <a:solidFill>
                  <a:schemeClr val="accent3"/>
                </a:solidFill>
              </a:defRPr>
            </a:lvl5pPr>
          </a:lstStyle>
          <a:p>
            <a:pPr lvl="1"/>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p:txBody>
      </p:sp>
      <p:sp>
        <p:nvSpPr>
          <p:cNvPr id="101" name="Textplatzhalter 4"/>
          <p:cNvSpPr>
            <a:spLocks noGrp="1"/>
          </p:cNvSpPr>
          <p:nvPr>
            <p:ph type="body" sz="quarter" idx="47"/>
          </p:nvPr>
        </p:nvSpPr>
        <p:spPr>
          <a:xfrm>
            <a:off x="3875723" y="2655615"/>
            <a:ext cx="3071811" cy="225264"/>
          </a:xfrm>
        </p:spPr>
        <p:txBody>
          <a:bodyPr/>
          <a:lstStyle/>
          <a:p>
            <a:pPr lvl="0"/>
            <a:r>
              <a:rPr lang="de-DE" dirty="0"/>
              <a:t>Textmasterformat bearbeiten</a:t>
            </a:r>
          </a:p>
        </p:txBody>
      </p:sp>
      <p:sp>
        <p:nvSpPr>
          <p:cNvPr id="102" name="Textplatzhalter 9"/>
          <p:cNvSpPr>
            <a:spLocks noGrp="1"/>
          </p:cNvSpPr>
          <p:nvPr>
            <p:ph type="body" sz="quarter" idx="48" hasCustomPrompt="1"/>
          </p:nvPr>
        </p:nvSpPr>
        <p:spPr>
          <a:xfrm>
            <a:off x="3875723" y="2837544"/>
            <a:ext cx="3071811" cy="163635"/>
          </a:xfrm>
        </p:spPr>
        <p:txBody>
          <a:bodyPr/>
          <a:lstStyle>
            <a:lvl2pPr marL="0" marR="0" indent="0" algn="l" defTabSz="914400" rtl="0" eaLnBrk="1" fontAlgn="base" latinLnBrk="0" hangingPunct="1">
              <a:lnSpc>
                <a:spcPct val="100000"/>
              </a:lnSpc>
              <a:spcBef>
                <a:spcPts val="0"/>
              </a:spcBef>
              <a:spcAft>
                <a:spcPts val="0"/>
              </a:spcAft>
              <a:buClrTx/>
              <a:buSzTx/>
              <a:buFontTx/>
              <a:buNone/>
              <a:tabLst/>
              <a:defRPr b="1"/>
            </a:lvl2pPr>
          </a:lstStyle>
          <a:p>
            <a:pPr lvl="1"/>
            <a:r>
              <a:rPr lang="de-DE" dirty="0"/>
              <a:t>Zweite Ebene</a:t>
            </a:r>
          </a:p>
        </p:txBody>
      </p:sp>
      <p:sp>
        <p:nvSpPr>
          <p:cNvPr id="103" name="Textplatzhalter 12">
            <a:extLst>
              <a:ext uri="{FF2B5EF4-FFF2-40B4-BE49-F238E27FC236}">
                <a16:creationId xmlns:a16="http://schemas.microsoft.com/office/drawing/2014/main" id="{14E52239-0B41-4EF5-8B95-1BFC25885969}"/>
              </a:ext>
            </a:extLst>
          </p:cNvPr>
          <p:cNvSpPr>
            <a:spLocks noGrp="1"/>
          </p:cNvSpPr>
          <p:nvPr>
            <p:ph type="body" sz="quarter" idx="49" hasCustomPrompt="1"/>
          </p:nvPr>
        </p:nvSpPr>
        <p:spPr bwMode="gray">
          <a:xfrm>
            <a:off x="4938218" y="3001179"/>
            <a:ext cx="2009318" cy="836768"/>
          </a:xfrm>
        </p:spPr>
        <p:txBody>
          <a:bodyPr wrap="square">
            <a:spAutoFit/>
          </a:bodyPr>
          <a:lstStyle>
            <a:lvl1pPr>
              <a:defRPr sz="1000">
                <a:solidFill>
                  <a:schemeClr val="accent2"/>
                </a:solidFill>
              </a:defRPr>
            </a:lvl1pPr>
            <a:lvl2pPr marL="0" marR="0" indent="0" algn="l" defTabSz="914400" rtl="0" eaLnBrk="1" fontAlgn="base" latinLnBrk="0" hangingPunct="1">
              <a:lnSpc>
                <a:spcPct val="106000"/>
              </a:lnSpc>
              <a:spcBef>
                <a:spcPts val="200"/>
              </a:spcBef>
              <a:spcAft>
                <a:spcPts val="0"/>
              </a:spcAft>
              <a:buClrTx/>
              <a:buSzTx/>
              <a:buFontTx/>
              <a:buNone/>
              <a:tabLst/>
              <a:defRPr sz="900">
                <a:solidFill>
                  <a:schemeClr val="bg2"/>
                </a:solidFill>
              </a:defRPr>
            </a:lvl2pPr>
            <a:lvl3pPr>
              <a:defRPr sz="1000"/>
            </a:lvl3pPr>
            <a:lvl4pPr>
              <a:defRPr sz="1000"/>
            </a:lvl4pPr>
            <a:lvl5pPr marL="0" indent="0">
              <a:buNone/>
              <a:defRPr sz="1200">
                <a:solidFill>
                  <a:schemeClr val="accent3"/>
                </a:solidFill>
              </a:defRPr>
            </a:lvl5pPr>
          </a:lstStyle>
          <a:p>
            <a:pPr lvl="1"/>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p:txBody>
      </p:sp>
      <p:sp>
        <p:nvSpPr>
          <p:cNvPr id="104" name="Textplatzhalter 4"/>
          <p:cNvSpPr>
            <a:spLocks noGrp="1"/>
          </p:cNvSpPr>
          <p:nvPr>
            <p:ph type="body" sz="quarter" idx="50"/>
          </p:nvPr>
        </p:nvSpPr>
        <p:spPr>
          <a:xfrm>
            <a:off x="3879533" y="4053885"/>
            <a:ext cx="3071811" cy="225264"/>
          </a:xfrm>
        </p:spPr>
        <p:txBody>
          <a:bodyPr/>
          <a:lstStyle/>
          <a:p>
            <a:pPr lvl="0"/>
            <a:r>
              <a:rPr lang="de-DE" dirty="0"/>
              <a:t>Textmasterformat bearbeiten</a:t>
            </a:r>
          </a:p>
        </p:txBody>
      </p:sp>
      <p:sp>
        <p:nvSpPr>
          <p:cNvPr id="105" name="Textplatzhalter 9"/>
          <p:cNvSpPr>
            <a:spLocks noGrp="1"/>
          </p:cNvSpPr>
          <p:nvPr>
            <p:ph type="body" sz="quarter" idx="51" hasCustomPrompt="1"/>
          </p:nvPr>
        </p:nvSpPr>
        <p:spPr>
          <a:xfrm>
            <a:off x="3879533" y="4235814"/>
            <a:ext cx="3071811" cy="153567"/>
          </a:xfrm>
        </p:spPr>
        <p:txBody>
          <a:bodyPr/>
          <a:lstStyle>
            <a:lvl2pPr marL="0" marR="0" indent="0" algn="l" defTabSz="914400" rtl="0" eaLnBrk="1" fontAlgn="base" latinLnBrk="0" hangingPunct="1">
              <a:lnSpc>
                <a:spcPct val="100000"/>
              </a:lnSpc>
              <a:spcBef>
                <a:spcPts val="0"/>
              </a:spcBef>
              <a:spcAft>
                <a:spcPts val="0"/>
              </a:spcAft>
              <a:buClrTx/>
              <a:buSzTx/>
              <a:buFontTx/>
              <a:buNone/>
              <a:tabLst/>
              <a:defRPr b="1"/>
            </a:lvl2pPr>
          </a:lstStyle>
          <a:p>
            <a:pPr lvl="1"/>
            <a:r>
              <a:rPr lang="de-DE" dirty="0"/>
              <a:t>Zweite Ebene</a:t>
            </a:r>
          </a:p>
        </p:txBody>
      </p:sp>
      <p:sp>
        <p:nvSpPr>
          <p:cNvPr id="106" name="Textplatzhalter 12">
            <a:extLst>
              <a:ext uri="{FF2B5EF4-FFF2-40B4-BE49-F238E27FC236}">
                <a16:creationId xmlns:a16="http://schemas.microsoft.com/office/drawing/2014/main" id="{14E52239-0B41-4EF5-8B95-1BFC25885969}"/>
              </a:ext>
            </a:extLst>
          </p:cNvPr>
          <p:cNvSpPr>
            <a:spLocks noGrp="1"/>
          </p:cNvSpPr>
          <p:nvPr>
            <p:ph type="body" sz="quarter" idx="52" hasCustomPrompt="1"/>
          </p:nvPr>
        </p:nvSpPr>
        <p:spPr bwMode="gray">
          <a:xfrm>
            <a:off x="4942028" y="4399449"/>
            <a:ext cx="2009318" cy="836768"/>
          </a:xfrm>
        </p:spPr>
        <p:txBody>
          <a:bodyPr wrap="square">
            <a:spAutoFit/>
          </a:bodyPr>
          <a:lstStyle>
            <a:lvl1pPr>
              <a:defRPr sz="1000">
                <a:solidFill>
                  <a:schemeClr val="accent2"/>
                </a:solidFill>
              </a:defRPr>
            </a:lvl1pPr>
            <a:lvl2pPr marL="0" marR="0" indent="0" algn="l" defTabSz="914400" rtl="0" eaLnBrk="1" fontAlgn="base" latinLnBrk="0" hangingPunct="1">
              <a:lnSpc>
                <a:spcPct val="106000"/>
              </a:lnSpc>
              <a:spcBef>
                <a:spcPts val="200"/>
              </a:spcBef>
              <a:spcAft>
                <a:spcPts val="0"/>
              </a:spcAft>
              <a:buClrTx/>
              <a:buSzTx/>
              <a:buFontTx/>
              <a:buNone/>
              <a:tabLst/>
              <a:defRPr sz="900">
                <a:solidFill>
                  <a:schemeClr val="bg2"/>
                </a:solidFill>
              </a:defRPr>
            </a:lvl2pPr>
            <a:lvl3pPr>
              <a:defRPr sz="1000"/>
            </a:lvl3pPr>
            <a:lvl4pPr>
              <a:defRPr sz="1000"/>
            </a:lvl4pPr>
            <a:lvl5pPr marL="0" indent="0">
              <a:buNone/>
              <a:defRPr sz="1200">
                <a:solidFill>
                  <a:schemeClr val="accent3"/>
                </a:solidFill>
              </a:defRPr>
            </a:lvl5pPr>
          </a:lstStyle>
          <a:p>
            <a:pPr lvl="1"/>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p:txBody>
      </p:sp>
      <p:sp>
        <p:nvSpPr>
          <p:cNvPr id="107" name="Textplatzhalter 4"/>
          <p:cNvSpPr>
            <a:spLocks noGrp="1"/>
          </p:cNvSpPr>
          <p:nvPr>
            <p:ph type="body" sz="quarter" idx="53"/>
          </p:nvPr>
        </p:nvSpPr>
        <p:spPr>
          <a:xfrm>
            <a:off x="3883343" y="5395005"/>
            <a:ext cx="3071811" cy="225264"/>
          </a:xfrm>
        </p:spPr>
        <p:txBody>
          <a:bodyPr/>
          <a:lstStyle/>
          <a:p>
            <a:pPr lvl="0"/>
            <a:r>
              <a:rPr lang="de-DE" dirty="0"/>
              <a:t>Textmasterformat bearbeiten</a:t>
            </a:r>
          </a:p>
        </p:txBody>
      </p:sp>
      <p:sp>
        <p:nvSpPr>
          <p:cNvPr id="108" name="Textplatzhalter 9"/>
          <p:cNvSpPr>
            <a:spLocks noGrp="1"/>
          </p:cNvSpPr>
          <p:nvPr>
            <p:ph type="body" sz="quarter" idx="54" hasCustomPrompt="1"/>
          </p:nvPr>
        </p:nvSpPr>
        <p:spPr>
          <a:xfrm>
            <a:off x="3883343" y="5576934"/>
            <a:ext cx="1054875" cy="227956"/>
          </a:xfrm>
        </p:spPr>
        <p:txBody>
          <a:bodyPr/>
          <a:lstStyle>
            <a:lvl2pPr marL="0" marR="0" indent="0" algn="l" defTabSz="914400" rtl="0" eaLnBrk="1" fontAlgn="base" latinLnBrk="0" hangingPunct="1">
              <a:lnSpc>
                <a:spcPct val="100000"/>
              </a:lnSpc>
              <a:spcBef>
                <a:spcPts val="0"/>
              </a:spcBef>
              <a:spcAft>
                <a:spcPts val="0"/>
              </a:spcAft>
              <a:buClrTx/>
              <a:buSzTx/>
              <a:buFontTx/>
              <a:buNone/>
              <a:tabLst/>
              <a:defRPr b="1"/>
            </a:lvl2pPr>
          </a:lstStyle>
          <a:p>
            <a:pPr lvl="1"/>
            <a:r>
              <a:rPr lang="de-DE" dirty="0"/>
              <a:t>Zweite Ebene</a:t>
            </a:r>
          </a:p>
        </p:txBody>
      </p:sp>
    </p:spTree>
    <p:extLst>
      <p:ext uri="{BB962C8B-B14F-4D97-AF65-F5344CB8AC3E}">
        <p14:creationId xmlns:p14="http://schemas.microsoft.com/office/powerpoint/2010/main" val="1816235311"/>
      </p:ext>
    </p:extLst>
  </p:cSld>
  <p:clrMapOvr>
    <a:masterClrMapping/>
  </p:clrMapOvr>
  <p:extLst>
    <p:ext uri="{DCECCB84-F9BA-43D5-87BE-67443E8EF086}">
      <p15:sldGuideLst xmlns:p15="http://schemas.microsoft.com/office/powerpoint/2012/main">
        <p15:guide id="1" orient="horz" pos="578" userDrawn="1">
          <p15:clr>
            <a:srgbClr val="FBAE40"/>
          </p15:clr>
        </p15:guide>
        <p15:guide id="2" orient="horz" pos="6384">
          <p15:clr>
            <a:srgbClr val="FBAE40"/>
          </p15:clr>
        </p15:guide>
        <p15:guide id="3" pos="2427">
          <p15:clr>
            <a:srgbClr val="FBAE40"/>
          </p15:clr>
        </p15:guide>
        <p15:guide id="4" pos="233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el und Inhalt - Aktien Version 2">
    <p:spTree>
      <p:nvGrpSpPr>
        <p:cNvPr id="1" name=""/>
        <p:cNvGrpSpPr/>
        <p:nvPr/>
      </p:nvGrpSpPr>
      <p:grpSpPr>
        <a:xfrm>
          <a:off x="0" y="0"/>
          <a:ext cx="0" cy="0"/>
          <a:chOff x="0" y="0"/>
          <a:chExt cx="0" cy="0"/>
        </a:xfrm>
      </p:grpSpPr>
      <p:graphicFrame>
        <p:nvGraphicFramePr>
          <p:cNvPr id="20" name="Objekt 19" hidden="1">
            <a:extLst>
              <a:ext uri="{FF2B5EF4-FFF2-40B4-BE49-F238E27FC236}">
                <a16:creationId xmlns:a16="http://schemas.microsoft.com/office/drawing/2014/main" id="{6891F096-6043-4BF9-8371-D1A1260165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0" name="Objekt 19" hidden="1">
                        <a:extLst>
                          <a:ext uri="{FF2B5EF4-FFF2-40B4-BE49-F238E27FC236}">
                            <a16:creationId xmlns:a16="http://schemas.microsoft.com/office/drawing/2014/main" id="{6891F096-6043-4BF9-8371-D1A1260165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hteck 18" hidden="1">
            <a:extLst>
              <a:ext uri="{FF2B5EF4-FFF2-40B4-BE49-F238E27FC236}">
                <a16:creationId xmlns:a16="http://schemas.microsoft.com/office/drawing/2014/main" id="{6DEFFC93-5A73-4669-9294-867CE1AD2CF7}"/>
              </a:ext>
            </a:extLst>
          </p:cNvPr>
          <p:cNvSpPr/>
          <p:nvPr userDrawn="1">
            <p:custDataLst>
              <p:tags r:id="rId2"/>
            </p:custDataLst>
          </p:nvPr>
        </p:nvSpPr>
        <p:spPr bwMode="auto">
          <a:xfrm>
            <a:off x="0" y="0"/>
            <a:ext cx="158750" cy="158750"/>
          </a:xfrm>
          <a:prstGeom prst="rect">
            <a:avLst/>
          </a:prstGeom>
          <a:solidFill>
            <a:srgbClr val="E6EAEE"/>
          </a:solidFill>
          <a:ln w="6350">
            <a:solidFill>
              <a:srgbClr val="E6EAEE"/>
            </a:solidFill>
            <a:miter lim="800000"/>
            <a:headEnd/>
            <a:tailEnd/>
          </a:ln>
        </p:spPr>
        <p:txBody>
          <a:bodyPr vert="horz" wrap="none" lIns="0" tIns="0" rIns="0" bIns="0" numCol="1" spcCol="0" rtlCol="0" anchor="ctr" anchorCtr="0">
            <a:noAutofit/>
          </a:bodyPr>
          <a:lstStyle/>
          <a:p>
            <a:pPr marL="0" lvl="0" indent="0" algn="ctr" defTabSz="963613" eaLnBrk="0" hangingPunct="0">
              <a:spcBef>
                <a:spcPts val="800"/>
              </a:spcBef>
              <a:buClr>
                <a:schemeClr val="tx1"/>
              </a:buClr>
              <a:buFontTx/>
              <a:buNone/>
              <a:tabLst>
                <a:tab pos="1257300" algn="l"/>
              </a:tabLst>
            </a:pPr>
            <a:endParaRPr lang="en-US" sz="1600" b="0" i="0" baseline="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el 1">
            <a:extLst>
              <a:ext uri="{FF2B5EF4-FFF2-40B4-BE49-F238E27FC236}">
                <a16:creationId xmlns:a16="http://schemas.microsoft.com/office/drawing/2014/main" id="{AB4C2818-3ED9-40FD-A530-B3A8B386744C}"/>
              </a:ext>
            </a:extLst>
          </p:cNvPr>
          <p:cNvSpPr>
            <a:spLocks noGrp="1"/>
          </p:cNvSpPr>
          <p:nvPr>
            <p:ph type="title" hasCustomPrompt="1"/>
          </p:nvPr>
        </p:nvSpPr>
        <p:spPr bwMode="gray">
          <a:xfrm>
            <a:off x="612775" y="934469"/>
            <a:ext cx="6335713" cy="233910"/>
          </a:xfrm>
        </p:spPr>
        <p:txBody>
          <a:bodyPr/>
          <a:lstStyle>
            <a:lvl1pPr>
              <a:defRPr>
                <a:latin typeface="DWS Sans Light" panose="02010404010101010104" pitchFamily="50" charset="0"/>
                <a:cs typeface="DWS Sans Light" panose="02010404010101010104" pitchFamily="50" charset="0"/>
              </a:defRPr>
            </a:lvl1pPr>
          </a:lstStyle>
          <a:p>
            <a:r>
              <a:rPr lang="en-US" dirty="0"/>
              <a:t>Placeholder title</a:t>
            </a:r>
            <a:endParaRPr lang="de-DE" dirty="0"/>
          </a:p>
        </p:txBody>
      </p:sp>
      <p:sp>
        <p:nvSpPr>
          <p:cNvPr id="3" name="Foliennummernplatzhalter 2">
            <a:extLst>
              <a:ext uri="{FF2B5EF4-FFF2-40B4-BE49-F238E27FC236}">
                <a16:creationId xmlns:a16="http://schemas.microsoft.com/office/drawing/2014/main" id="{040741AE-A581-45AE-97FA-7FB35E3E6F48}"/>
              </a:ext>
            </a:extLst>
          </p:cNvPr>
          <p:cNvSpPr>
            <a:spLocks noGrp="1"/>
          </p:cNvSpPr>
          <p:nvPr>
            <p:ph type="sldNum" sz="quarter" idx="10"/>
          </p:nvPr>
        </p:nvSpPr>
        <p:spPr bwMode="gray">
          <a:xfrm>
            <a:off x="612279" y="10277916"/>
            <a:ext cx="288000" cy="107722"/>
          </a:xfrm>
        </p:spPr>
        <p:txBody>
          <a:bodyPr/>
          <a:lstStyle/>
          <a:p>
            <a:fld id="{3C189ADE-B34A-4B7F-8705-8D7FBD301B3C}" type="slidenum">
              <a:rPr lang="de-DE" smtClean="0"/>
              <a:pPr/>
              <a:t>‹N›</a:t>
            </a:fld>
            <a:endParaRPr lang="de-DE" dirty="0"/>
          </a:p>
        </p:txBody>
      </p:sp>
      <p:sp>
        <p:nvSpPr>
          <p:cNvPr id="13" name="Textplatzhalter 12">
            <a:extLst>
              <a:ext uri="{FF2B5EF4-FFF2-40B4-BE49-F238E27FC236}">
                <a16:creationId xmlns:a16="http://schemas.microsoft.com/office/drawing/2014/main" id="{14E52239-0B41-4EF5-8B95-1BFC25885969}"/>
              </a:ext>
            </a:extLst>
          </p:cNvPr>
          <p:cNvSpPr>
            <a:spLocks noGrp="1"/>
          </p:cNvSpPr>
          <p:nvPr>
            <p:ph type="body" sz="quarter" idx="12" hasCustomPrompt="1"/>
          </p:nvPr>
        </p:nvSpPr>
        <p:spPr bwMode="gray">
          <a:xfrm>
            <a:off x="612278" y="1322440"/>
            <a:ext cx="3096121" cy="3079048"/>
          </a:xfrm>
        </p:spPr>
        <p:txBody>
          <a:bodyPr wrap="square">
            <a:spAutoFit/>
          </a:bodyPr>
          <a:lstStyle>
            <a:lvl1pPr>
              <a:defRPr sz="1000">
                <a:solidFill>
                  <a:schemeClr val="accent2"/>
                </a:solidFill>
              </a:defRPr>
            </a:lvl1pPr>
            <a:lvl2pPr marL="0" marR="0" indent="0" algn="l" defTabSz="914400" rtl="0" eaLnBrk="1" fontAlgn="base" latinLnBrk="0" hangingPunct="1">
              <a:lnSpc>
                <a:spcPct val="106000"/>
              </a:lnSpc>
              <a:spcBef>
                <a:spcPts val="200"/>
              </a:spcBef>
              <a:spcAft>
                <a:spcPts val="0"/>
              </a:spcAft>
              <a:buClrTx/>
              <a:buSzTx/>
              <a:buFontTx/>
              <a:buNone/>
              <a:tabLst/>
              <a:defRPr sz="900">
                <a:solidFill>
                  <a:schemeClr val="bg2"/>
                </a:solidFill>
              </a:defRPr>
            </a:lvl2pPr>
            <a:lvl3pPr>
              <a:defRPr sz="1000"/>
            </a:lvl3pPr>
            <a:lvl4pPr>
              <a:defRPr sz="1000"/>
            </a:lvl4pPr>
            <a:lvl5pPr marL="0" indent="0">
              <a:buNone/>
              <a:defRPr sz="1200">
                <a:solidFill>
                  <a:schemeClr val="accent3"/>
                </a:solidFill>
              </a:defRPr>
            </a:lvl5pPr>
          </a:lstStyle>
          <a:p>
            <a:pPr lvl="1"/>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p:txBody>
      </p:sp>
      <p:sp>
        <p:nvSpPr>
          <p:cNvPr id="14" name="Textplatzhalter 12">
            <a:extLst>
              <a:ext uri="{FF2B5EF4-FFF2-40B4-BE49-F238E27FC236}">
                <a16:creationId xmlns:a16="http://schemas.microsoft.com/office/drawing/2014/main" id="{BB8FA2F0-290D-4B82-B6F5-D3D9F847C9FA}"/>
              </a:ext>
            </a:extLst>
          </p:cNvPr>
          <p:cNvSpPr>
            <a:spLocks noGrp="1"/>
          </p:cNvSpPr>
          <p:nvPr>
            <p:ph type="body" sz="quarter" idx="13" hasCustomPrompt="1"/>
          </p:nvPr>
        </p:nvSpPr>
        <p:spPr bwMode="gray">
          <a:xfrm>
            <a:off x="3852639" y="1322440"/>
            <a:ext cx="3096121" cy="836768"/>
          </a:xfrm>
        </p:spPr>
        <p:txBody>
          <a:bodyPr wrap="square">
            <a:spAutoFit/>
          </a:bodyPr>
          <a:lstStyle>
            <a:lvl1pPr>
              <a:defRPr sz="1000"/>
            </a:lvl1pPr>
            <a:lvl2pPr marL="0" marR="0" indent="0" algn="l" defTabSz="914400" rtl="0" eaLnBrk="1" fontAlgn="base" latinLnBrk="0" hangingPunct="1">
              <a:lnSpc>
                <a:spcPct val="106000"/>
              </a:lnSpc>
              <a:spcBef>
                <a:spcPts val="200"/>
              </a:spcBef>
              <a:spcAft>
                <a:spcPts val="0"/>
              </a:spcAft>
              <a:buClrTx/>
              <a:buSzTx/>
              <a:buFontTx/>
              <a:buNone/>
              <a:tabLst/>
              <a:defRPr sz="900"/>
            </a:lvl2pPr>
            <a:lvl3pPr>
              <a:defRPr sz="1000"/>
            </a:lvl3pPr>
            <a:lvl4pPr>
              <a:defRPr sz="1000"/>
            </a:lvl4pPr>
            <a:lvl5pPr>
              <a:defRPr sz="1000"/>
            </a:lvl5pPr>
          </a:lstStyle>
          <a:p>
            <a:pPr lvl="1"/>
            <a:r>
              <a:rPr lang="en-US" dirty="0"/>
              <a:t>Second level: Body text</a:t>
            </a:r>
          </a:p>
          <a:p>
            <a:pPr lvl="1"/>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a:p>
            <a:pPr marL="0" marR="0" lvl="1" indent="0" algn="l" defTabSz="914400" rtl="0" eaLnBrk="1" fontAlgn="base" latinLnBrk="0" hangingPunct="1">
              <a:lnSpc>
                <a:spcPct val="106000"/>
              </a:lnSpc>
              <a:spcBef>
                <a:spcPts val="200"/>
              </a:spcBef>
              <a:spcAft>
                <a:spcPts val="0"/>
              </a:spcAft>
              <a:buClrTx/>
              <a:buSzTx/>
              <a:buFontTx/>
              <a:buNone/>
              <a:tabLst/>
              <a:defRPr/>
            </a:pPr>
            <a:r>
              <a:rPr lang="en-US" dirty="0"/>
              <a:t>Second level: Body text</a:t>
            </a:r>
          </a:p>
        </p:txBody>
      </p:sp>
      <p:sp>
        <p:nvSpPr>
          <p:cNvPr id="25" name="Textplatzhalter 12">
            <a:extLst>
              <a:ext uri="{FF2B5EF4-FFF2-40B4-BE49-F238E27FC236}">
                <a16:creationId xmlns:a16="http://schemas.microsoft.com/office/drawing/2014/main" id="{CDA5A2BA-F61B-41BF-B79F-B5BB15BD5D3E}"/>
              </a:ext>
            </a:extLst>
          </p:cNvPr>
          <p:cNvSpPr>
            <a:spLocks noGrp="1"/>
          </p:cNvSpPr>
          <p:nvPr>
            <p:ph type="body" sz="quarter" idx="15" hasCustomPrompt="1"/>
          </p:nvPr>
        </p:nvSpPr>
        <p:spPr bwMode="gray">
          <a:xfrm>
            <a:off x="612278" y="640515"/>
            <a:ext cx="173124" cy="169277"/>
          </a:xfrm>
        </p:spPr>
        <p:txBody>
          <a:bodyPr wrap="non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1100" b="0">
                <a:solidFill>
                  <a:schemeClr val="accent2"/>
                </a:solidFill>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X</a:t>
            </a:r>
          </a:p>
        </p:txBody>
      </p:sp>
      <p:sp>
        <p:nvSpPr>
          <p:cNvPr id="29" name="Textplatzhalter 12">
            <a:extLst>
              <a:ext uri="{FF2B5EF4-FFF2-40B4-BE49-F238E27FC236}">
                <a16:creationId xmlns:a16="http://schemas.microsoft.com/office/drawing/2014/main" id="{EEF72869-3591-49DF-B605-493E2787BF59}"/>
              </a:ext>
            </a:extLst>
          </p:cNvPr>
          <p:cNvSpPr>
            <a:spLocks noGrp="1"/>
          </p:cNvSpPr>
          <p:nvPr>
            <p:ph type="body" sz="quarter" idx="16" hasCustomPrompt="1"/>
          </p:nvPr>
        </p:nvSpPr>
        <p:spPr bwMode="gray">
          <a:xfrm>
            <a:off x="828303" y="640515"/>
            <a:ext cx="6120680" cy="169277"/>
          </a:xfrm>
        </p:spPr>
        <p:txBody>
          <a:bodyPr wrap="square"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1100" b="0">
                <a:solidFill>
                  <a:schemeClr val="accent3"/>
                </a:solidFill>
              </a:defRPr>
            </a:lvl1pPr>
            <a:lvl2pPr marL="0" indent="0">
              <a:lnSpc>
                <a:spcPct val="100000"/>
              </a:lnSpc>
              <a:spcBef>
                <a:spcPts val="0"/>
              </a:spcBef>
              <a:buFont typeface="Arial" panose="020B0604020202020204" pitchFamily="34" charset="0"/>
              <a:buNone/>
              <a:defRPr sz="700">
                <a:solidFill>
                  <a:schemeClr val="accent3"/>
                </a:solidFill>
              </a:defRPr>
            </a:lvl2pPr>
            <a:lvl3pPr marL="0" indent="0">
              <a:lnSpc>
                <a:spcPct val="100000"/>
              </a:lnSpc>
              <a:spcBef>
                <a:spcPts val="0"/>
              </a:spcBef>
              <a:buFont typeface="Arial" panose="020B0604020202020204" pitchFamily="34" charset="0"/>
              <a:buNone/>
              <a:defRPr sz="700">
                <a:solidFill>
                  <a:schemeClr val="accent3"/>
                </a:solidFill>
              </a:defRPr>
            </a:lvl3pPr>
            <a:lvl4pPr marL="0" indent="0">
              <a:lnSpc>
                <a:spcPct val="100000"/>
              </a:lnSpc>
              <a:spcBef>
                <a:spcPts val="0"/>
              </a:spcBef>
              <a:buNone/>
              <a:defRPr sz="700">
                <a:solidFill>
                  <a:schemeClr val="accent3"/>
                </a:solidFill>
              </a:defRPr>
            </a:lvl4pPr>
            <a:lvl5pPr marL="0" indent="0">
              <a:lnSpc>
                <a:spcPct val="100000"/>
              </a:lnSpc>
              <a:spcBef>
                <a:spcPts val="0"/>
              </a:spcBef>
              <a:buNone/>
              <a:defRPr sz="700">
                <a:solidFill>
                  <a:schemeClr val="accent3"/>
                </a:solidFill>
              </a:defRPr>
            </a:lvl5pPr>
          </a:lstStyle>
          <a:p>
            <a:pPr lvl="0"/>
            <a:r>
              <a:rPr lang="en-US" noProof="0" dirty="0"/>
              <a:t>Placeholder Chapter</a:t>
            </a:r>
          </a:p>
        </p:txBody>
      </p:sp>
      <p:sp>
        <p:nvSpPr>
          <p:cNvPr id="31" name="Diagrammplatzhalter 5"/>
          <p:cNvSpPr>
            <a:spLocks noGrp="1"/>
          </p:cNvSpPr>
          <p:nvPr>
            <p:ph type="chart" sz="quarter" idx="34"/>
          </p:nvPr>
        </p:nvSpPr>
        <p:spPr>
          <a:xfrm>
            <a:off x="3852864" y="2884142"/>
            <a:ext cx="3095625" cy="1517620"/>
          </a:xfrm>
        </p:spPr>
        <p:txBody>
          <a:bodyPr/>
          <a:lstStyle/>
          <a:p>
            <a:endParaRPr lang="de-DE" dirty="0"/>
          </a:p>
        </p:txBody>
      </p:sp>
      <p:sp>
        <p:nvSpPr>
          <p:cNvPr id="32" name="Textplatzhalter 4"/>
          <p:cNvSpPr>
            <a:spLocks noGrp="1"/>
          </p:cNvSpPr>
          <p:nvPr>
            <p:ph type="body" sz="quarter" idx="35"/>
          </p:nvPr>
        </p:nvSpPr>
        <p:spPr>
          <a:xfrm>
            <a:off x="3852864" y="2307716"/>
            <a:ext cx="3095624" cy="171132"/>
          </a:xfrm>
        </p:spPr>
        <p:txBody>
          <a:bodyPr/>
          <a:lstStyle/>
          <a:p>
            <a:pPr lvl="0"/>
            <a:r>
              <a:rPr lang="de-DE" dirty="0"/>
              <a:t>Textmasterformat bearbeiten</a:t>
            </a:r>
          </a:p>
        </p:txBody>
      </p:sp>
      <p:sp>
        <p:nvSpPr>
          <p:cNvPr id="33" name="Textplatzhalter 9"/>
          <p:cNvSpPr>
            <a:spLocks noGrp="1"/>
          </p:cNvSpPr>
          <p:nvPr>
            <p:ph type="body" sz="quarter" idx="36" hasCustomPrompt="1"/>
          </p:nvPr>
        </p:nvSpPr>
        <p:spPr>
          <a:xfrm>
            <a:off x="3852864" y="2512504"/>
            <a:ext cx="3095624" cy="292262"/>
          </a:xfrm>
        </p:spPr>
        <p:txBody>
          <a:bodyPr/>
          <a:lstStyle>
            <a:lvl2pPr marL="0" marR="0" indent="0" algn="l" defTabSz="914400" rtl="0" eaLnBrk="1" fontAlgn="base" latinLnBrk="0" hangingPunct="1">
              <a:lnSpc>
                <a:spcPct val="100000"/>
              </a:lnSpc>
              <a:spcBef>
                <a:spcPts val="0"/>
              </a:spcBef>
              <a:spcAft>
                <a:spcPts val="0"/>
              </a:spcAft>
              <a:buClrTx/>
              <a:buSzTx/>
              <a:buFontTx/>
              <a:buNone/>
              <a:tabLst/>
              <a:defRPr/>
            </a:lvl2pPr>
          </a:lstStyle>
          <a:p>
            <a:pPr lvl="1"/>
            <a:r>
              <a:rPr lang="de-DE" dirty="0"/>
              <a:t>Zweite Ebene</a:t>
            </a:r>
          </a:p>
          <a:p>
            <a:pPr marL="0" marR="0" lvl="1" indent="0" algn="l" defTabSz="914400" rtl="0" eaLnBrk="1" fontAlgn="base" latinLnBrk="0" hangingPunct="1">
              <a:lnSpc>
                <a:spcPct val="106000"/>
              </a:lnSpc>
              <a:spcBef>
                <a:spcPts val="200"/>
              </a:spcBef>
              <a:spcAft>
                <a:spcPts val="0"/>
              </a:spcAft>
              <a:buClrTx/>
              <a:buSzTx/>
              <a:buFontTx/>
              <a:buNone/>
              <a:tabLst/>
              <a:defRPr/>
            </a:pPr>
            <a:r>
              <a:rPr lang="de-DE" dirty="0"/>
              <a:t>Zweite Ebene</a:t>
            </a:r>
          </a:p>
          <a:p>
            <a:pPr lvl="1"/>
            <a:endParaRPr lang="de-DE" dirty="0"/>
          </a:p>
        </p:txBody>
      </p:sp>
      <p:sp>
        <p:nvSpPr>
          <p:cNvPr id="4" name="Fußzeilenplatzhalter 3"/>
          <p:cNvSpPr>
            <a:spLocks noGrp="1"/>
          </p:cNvSpPr>
          <p:nvPr>
            <p:ph type="ftr" sz="quarter" idx="54"/>
          </p:nvPr>
        </p:nvSpPr>
        <p:spPr/>
        <p:txBody>
          <a:bodyPr/>
          <a:lstStyle/>
          <a:p>
            <a:r>
              <a:rPr lang="en-US" dirty="0"/>
              <a:t>Placeholder Document Name  I  Date</a:t>
            </a:r>
          </a:p>
        </p:txBody>
      </p:sp>
    </p:spTree>
    <p:extLst>
      <p:ext uri="{BB962C8B-B14F-4D97-AF65-F5344CB8AC3E}">
        <p14:creationId xmlns:p14="http://schemas.microsoft.com/office/powerpoint/2010/main" val="2981495297"/>
      </p:ext>
    </p:extLst>
  </p:cSld>
  <p:clrMapOvr>
    <a:masterClrMapping/>
  </p:clrMapOvr>
  <p:extLst>
    <p:ext uri="{DCECCB84-F9BA-43D5-87BE-67443E8EF086}">
      <p15:sldGuideLst xmlns:p15="http://schemas.microsoft.com/office/powerpoint/2012/main">
        <p15:guide id="1" orient="horz" pos="578" userDrawn="1">
          <p15:clr>
            <a:srgbClr val="FBAE40"/>
          </p15:clr>
        </p15:guide>
        <p15:guide id="2" orient="horz" pos="6384">
          <p15:clr>
            <a:srgbClr val="FBAE40"/>
          </p15:clr>
        </p15:guide>
        <p15:guide id="3" pos="2427">
          <p15:clr>
            <a:srgbClr val="FBAE40"/>
          </p15:clr>
        </p15:guide>
        <p15:guide id="4" pos="233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DCF642C2-3724-4699-A71C-D5A5AA1FEA8D}"/>
              </a:ext>
            </a:extLst>
          </p:cNvPr>
          <p:cNvGraphicFramePr>
            <a:graphicFrameLocks noChangeAspect="1"/>
          </p:cNvGraphicFramePr>
          <p:nvPr userDrawn="1">
            <p:custDataLst>
              <p:tags r:id="rId11"/>
            </p:custDataLst>
            <p:extLst>
              <p:ext uri="{D42A27DB-BD31-4B8C-83A1-F6EECF244321}">
                <p14:modId xmlns:p14="http://schemas.microsoft.com/office/powerpoint/2010/main" val="1179916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3" imgW="344" imgH="345" progId="TCLayout.ActiveDocument.1">
                  <p:embed/>
                </p:oleObj>
              </mc:Choice>
              <mc:Fallback>
                <p:oleObj name="think-cell Folie" r:id="rId13" imgW="344" imgH="345" progId="TCLayout.ActiveDocument.1">
                  <p:embed/>
                  <p:pic>
                    <p:nvPicPr>
                      <p:cNvPr id="12" name="Objekt 11" hidden="1">
                        <a:extLst>
                          <a:ext uri="{FF2B5EF4-FFF2-40B4-BE49-F238E27FC236}">
                            <a16:creationId xmlns:a16="http://schemas.microsoft.com/office/drawing/2014/main" id="{DCF642C2-3724-4699-A71C-D5A5AA1FEA8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1" name="Rechteck 10" hidden="1">
            <a:extLst>
              <a:ext uri="{FF2B5EF4-FFF2-40B4-BE49-F238E27FC236}">
                <a16:creationId xmlns:a16="http://schemas.microsoft.com/office/drawing/2014/main" id="{17EAD717-2E24-4F45-BE69-ADD8959066C2}"/>
              </a:ext>
            </a:extLst>
          </p:cNvPr>
          <p:cNvSpPr/>
          <p:nvPr userDrawn="1">
            <p:custDataLst>
              <p:tags r:id="rId12"/>
            </p:custDataLst>
          </p:nvPr>
        </p:nvSpPr>
        <p:spPr bwMode="auto">
          <a:xfrm>
            <a:off x="0" y="0"/>
            <a:ext cx="158750" cy="158750"/>
          </a:xfrm>
          <a:prstGeom prst="rect">
            <a:avLst/>
          </a:prstGeom>
          <a:solidFill>
            <a:srgbClr val="E6EAEE"/>
          </a:solidFill>
          <a:ln w="6350">
            <a:solidFill>
              <a:srgbClr val="E6EAEE"/>
            </a:solidFill>
            <a:miter lim="800000"/>
            <a:headEnd/>
            <a:tailEnd/>
          </a:ln>
        </p:spPr>
        <p:txBody>
          <a:bodyPr vert="horz" wrap="none" lIns="0" tIns="0" rIns="0" bIns="0" numCol="1" spcCol="0" rtlCol="0" anchor="ctr" anchorCtr="0">
            <a:noAutofit/>
          </a:bodyPr>
          <a:lstStyle/>
          <a:p>
            <a:pPr marL="0" lvl="0" indent="0" algn="ctr" defTabSz="963613" eaLnBrk="0" hangingPunct="0">
              <a:spcBef>
                <a:spcPts val="800"/>
              </a:spcBef>
              <a:buClr>
                <a:schemeClr val="tx1"/>
              </a:buClr>
              <a:buFontTx/>
              <a:buNone/>
              <a:tabLst>
                <a:tab pos="1257300" algn="l"/>
              </a:tabLst>
            </a:pPr>
            <a:endParaRPr lang="en-US" sz="1600" b="0" i="0" baseline="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5" name="Foliennummernplatzhalter 4"/>
          <p:cNvSpPr>
            <a:spLocks noGrp="1"/>
          </p:cNvSpPr>
          <p:nvPr>
            <p:ph type="sldNum" sz="quarter" idx="4"/>
          </p:nvPr>
        </p:nvSpPr>
        <p:spPr bwMode="gray">
          <a:xfrm>
            <a:off x="612279" y="10277916"/>
            <a:ext cx="383657" cy="107722"/>
          </a:xfrm>
          <a:prstGeom prst="rect">
            <a:avLst/>
          </a:prstGeom>
        </p:spPr>
        <p:txBody>
          <a:bodyPr vert="horz" wrap="square" lIns="0" tIns="0" rIns="0" bIns="0" rtlCol="0" anchor="ctr">
            <a:spAutoFit/>
          </a:bodyPr>
          <a:lstStyle>
            <a:lvl1pPr algn="l">
              <a:defRPr sz="700">
                <a:solidFill>
                  <a:schemeClr val="bg2"/>
                </a:solidFill>
              </a:defRPr>
            </a:lvl1pPr>
          </a:lstStyle>
          <a:p>
            <a:fld id="{3C189ADE-B34A-4B7F-8705-8D7FBD301B3C}" type="slidenum">
              <a:rPr lang="en-US" smtClean="0"/>
              <a:pPr/>
              <a:t>‹N›</a:t>
            </a:fld>
            <a:endParaRPr lang="en-US" dirty="0"/>
          </a:p>
        </p:txBody>
      </p:sp>
      <p:sp>
        <p:nvSpPr>
          <p:cNvPr id="6" name="Fußzeilenplatzhalter 5"/>
          <p:cNvSpPr>
            <a:spLocks noGrp="1"/>
          </p:cNvSpPr>
          <p:nvPr>
            <p:ph type="ftr" sz="quarter" idx="3"/>
          </p:nvPr>
        </p:nvSpPr>
        <p:spPr bwMode="gray">
          <a:xfrm>
            <a:off x="1044327" y="10277916"/>
            <a:ext cx="5904656" cy="107722"/>
          </a:xfrm>
          <a:prstGeom prst="rect">
            <a:avLst/>
          </a:prstGeom>
        </p:spPr>
        <p:txBody>
          <a:bodyPr vert="horz" wrap="square" lIns="0" tIns="0" rIns="0" bIns="0" rtlCol="0" anchor="ctr">
            <a:spAutoFit/>
          </a:bodyPr>
          <a:lstStyle>
            <a:lvl1pPr algn="r" defTabSz="1097680" rtl="0" fontAlgn="base">
              <a:spcBef>
                <a:spcPct val="0"/>
              </a:spcBef>
              <a:spcAft>
                <a:spcPct val="0"/>
              </a:spcAft>
              <a:defRPr lang="de-DE" sz="700" kern="1200" smtClean="0">
                <a:solidFill>
                  <a:schemeClr val="bg2"/>
                </a:solidFill>
                <a:latin typeface="Arial" charset="0"/>
                <a:ea typeface="+mn-ea"/>
                <a:cs typeface="Arial" charset="0"/>
              </a:defRPr>
            </a:lvl1pPr>
          </a:lstStyle>
          <a:p>
            <a:r>
              <a:rPr lang="en-US" dirty="0"/>
              <a:t>Placeholder Document Name  I  Date</a:t>
            </a:r>
          </a:p>
        </p:txBody>
      </p:sp>
      <p:sp>
        <p:nvSpPr>
          <p:cNvPr id="2" name="Titelplatzhalter 1">
            <a:extLst>
              <a:ext uri="{FF2B5EF4-FFF2-40B4-BE49-F238E27FC236}">
                <a16:creationId xmlns:a16="http://schemas.microsoft.com/office/drawing/2014/main" id="{352D4D66-32AB-4362-9DF2-547849BF98EA}"/>
              </a:ext>
            </a:extLst>
          </p:cNvPr>
          <p:cNvSpPr>
            <a:spLocks noGrp="1"/>
          </p:cNvSpPr>
          <p:nvPr>
            <p:ph type="title"/>
          </p:nvPr>
        </p:nvSpPr>
        <p:spPr bwMode="gray">
          <a:xfrm>
            <a:off x="612775" y="934469"/>
            <a:ext cx="6335713" cy="233910"/>
          </a:xfrm>
          <a:prstGeom prst="rect">
            <a:avLst/>
          </a:prstGeom>
        </p:spPr>
        <p:txBody>
          <a:bodyPr vert="horz" lIns="0" tIns="0" rIns="0" bIns="0" rtlCol="0" anchor="t">
            <a:spAutoFit/>
          </a:bodyPr>
          <a:lstStyle/>
          <a:p>
            <a:r>
              <a:rPr lang="en-US" dirty="0"/>
              <a:t>Placeholder title</a:t>
            </a:r>
          </a:p>
        </p:txBody>
      </p:sp>
      <p:sp>
        <p:nvSpPr>
          <p:cNvPr id="3" name="Textplatzhalter 2">
            <a:extLst>
              <a:ext uri="{FF2B5EF4-FFF2-40B4-BE49-F238E27FC236}">
                <a16:creationId xmlns:a16="http://schemas.microsoft.com/office/drawing/2014/main" id="{5A4D76CF-B73B-439A-B2A4-122AA1272020}"/>
              </a:ext>
            </a:extLst>
          </p:cNvPr>
          <p:cNvSpPr>
            <a:spLocks noGrp="1"/>
          </p:cNvSpPr>
          <p:nvPr>
            <p:ph type="body" idx="1"/>
          </p:nvPr>
        </p:nvSpPr>
        <p:spPr bwMode="gray">
          <a:xfrm>
            <a:off x="613764" y="1567232"/>
            <a:ext cx="6335219" cy="8568000"/>
          </a:xfrm>
          <a:prstGeom prst="rect">
            <a:avLst/>
          </a:prstGeom>
        </p:spPr>
        <p:txBody>
          <a:bodyPr vert="horz" lIns="0" tIns="0" rIns="0" bIns="0" rtlCol="0">
            <a:normAutofit/>
          </a:bodyPr>
          <a:lstStyle/>
          <a:p>
            <a:pPr lvl="0"/>
            <a:r>
              <a:rPr lang="en-US" dirty="0"/>
              <a:t>First level: Sub-headline</a:t>
            </a:r>
          </a:p>
          <a:p>
            <a:pPr lvl="1"/>
            <a:r>
              <a:rPr lang="en-US" dirty="0"/>
              <a:t>Second level: Body text</a:t>
            </a:r>
          </a:p>
          <a:p>
            <a:pPr lvl="2"/>
            <a:r>
              <a:rPr lang="en-US" dirty="0"/>
              <a:t>Third level: First bullet point level</a:t>
            </a:r>
          </a:p>
          <a:p>
            <a:pPr lvl="3"/>
            <a:r>
              <a:rPr lang="en-US" dirty="0"/>
              <a:t>Fourth level: Second bullet point level</a:t>
            </a:r>
          </a:p>
          <a:p>
            <a:pPr lvl="4"/>
            <a:r>
              <a:rPr lang="en-US" dirty="0"/>
              <a:t>Fifth level: Headline</a:t>
            </a:r>
          </a:p>
        </p:txBody>
      </p:sp>
      <p:sp>
        <p:nvSpPr>
          <p:cNvPr id="7" name="MSIPCMContentMarking" descr="{&quot;HashCode&quot;:-1864096203,&quot;Placement&quot;:&quot;Footer&quot;,&quot;Top&quot;:821.343,&quot;Left&quot;:287.420868,&quot;SlideWidth&quot;:595,&quot;SlideHeight&quot;:842}">
            <a:extLst>
              <a:ext uri="{FF2B5EF4-FFF2-40B4-BE49-F238E27FC236}">
                <a16:creationId xmlns:a16="http://schemas.microsoft.com/office/drawing/2014/main" id="{ED7A3C75-13AD-410A-B9BE-26B20D1C9305}"/>
              </a:ext>
            </a:extLst>
          </p:cNvPr>
          <p:cNvSpPr txBox="1"/>
          <p:nvPr userDrawn="1"/>
        </p:nvSpPr>
        <p:spPr bwMode="ltGray">
          <a:xfrm>
            <a:off x="3650245" y="10431056"/>
            <a:ext cx="260773" cy="262344"/>
          </a:xfrm>
          <a:prstGeom prst="rect">
            <a:avLst/>
          </a:prstGeom>
          <a:noFill/>
          <a:ln w="6350">
            <a:noFill/>
            <a:miter lim="800000"/>
            <a:headEnd/>
            <a:tailEnd/>
          </a:ln>
        </p:spPr>
        <p:txBody>
          <a:bodyPr vert="horz" wrap="square" lIns="0" tIns="0" rIns="0" bIns="0" rtlCol="0" anchor="ctr" anchorCtr="1">
            <a:spAutoFit/>
          </a:bodyPr>
          <a:lstStyle/>
          <a:p>
            <a:pPr marL="0" indent="0" algn="ctr" eaLnBrk="0" hangingPunct="0">
              <a:lnSpc>
                <a:spcPct val="106000"/>
              </a:lnSpc>
              <a:spcBef>
                <a:spcPts val="0"/>
              </a:spcBef>
              <a:spcAft>
                <a:spcPct val="0"/>
              </a:spcAft>
              <a:buClrTx/>
              <a:buFont typeface="Arial" panose="020B0604020202020204" pitchFamily="34" charset="0"/>
              <a:buNone/>
            </a:pPr>
            <a:r>
              <a:rPr lang="de-DE" sz="1000" dirty="0">
                <a:solidFill>
                  <a:srgbClr val="000000"/>
                </a:solidFill>
                <a:latin typeface="Calibri" panose="020F0502020204030204" pitchFamily="34" charset="0"/>
              </a:rPr>
              <a:t> </a:t>
            </a:r>
          </a:p>
        </p:txBody>
      </p:sp>
    </p:spTree>
    <p:extLst>
      <p:ext uri="{BB962C8B-B14F-4D97-AF65-F5344CB8AC3E}">
        <p14:creationId xmlns:p14="http://schemas.microsoft.com/office/powerpoint/2010/main" val="1657026791"/>
      </p:ext>
    </p:extLst>
  </p:cSld>
  <p:clrMap bg1="dk2" tx1="lt1" bg2="dk1" tx2="lt2" accent1="accent1" accent2="accent2" accent3="accent3" accent4="accent4" accent5="accent5" accent6="accent6" hlink="hlink" folHlink="folHlink"/>
  <p:sldLayoutIdLst>
    <p:sldLayoutId id="2147485465" r:id="rId1"/>
    <p:sldLayoutId id="2147485466" r:id="rId2"/>
    <p:sldLayoutId id="2147485470" r:id="rId3"/>
    <p:sldLayoutId id="2147485474" r:id="rId4"/>
    <p:sldLayoutId id="2147485475" r:id="rId5"/>
    <p:sldLayoutId id="2147485476" r:id="rId6"/>
    <p:sldLayoutId id="2147485463" r:id="rId7"/>
    <p:sldLayoutId id="2147485467" r:id="rId8"/>
    <p:sldLayoutId id="2147485469" r:id="rId9"/>
  </p:sldLayoutIdLst>
  <p:hf hdr="0" dt="0"/>
  <p:txStyles>
    <p:titleStyle>
      <a:lvl1pPr algn="l" rtl="0" eaLnBrk="1" fontAlgn="base" hangingPunct="1">
        <a:lnSpc>
          <a:spcPct val="95000"/>
        </a:lnSpc>
        <a:spcBef>
          <a:spcPct val="0"/>
        </a:spcBef>
        <a:spcAft>
          <a:spcPct val="0"/>
        </a:spcAft>
        <a:defRPr sz="1600" kern="1200">
          <a:solidFill>
            <a:schemeClr val="bg2"/>
          </a:solidFill>
          <a:latin typeface="+mn-lt"/>
          <a:ea typeface="ＭＳ Ｐゴシック" pitchFamily="34" charset="-128"/>
          <a:cs typeface="ＭＳ Ｐゴシック" pitchFamily="-109" charset="-128"/>
        </a:defRPr>
      </a:lvl1pPr>
      <a:lvl2pPr algn="l" rtl="0" eaLnBrk="1" fontAlgn="base" hangingPunct="1">
        <a:lnSpc>
          <a:spcPct val="90000"/>
        </a:lnSpc>
        <a:spcBef>
          <a:spcPct val="0"/>
        </a:spcBef>
        <a:spcAft>
          <a:spcPct val="0"/>
        </a:spcAft>
        <a:defRPr sz="2600">
          <a:solidFill>
            <a:schemeClr val="tx1"/>
          </a:solidFill>
          <a:latin typeface="Arial" charset="0"/>
          <a:ea typeface="ＭＳ Ｐゴシック" pitchFamily="34" charset="-128"/>
          <a:cs typeface="ＭＳ Ｐゴシック" pitchFamily="-109" charset="-128"/>
        </a:defRPr>
      </a:lvl2pPr>
      <a:lvl3pPr algn="l" rtl="0" eaLnBrk="1" fontAlgn="base" hangingPunct="1">
        <a:lnSpc>
          <a:spcPct val="90000"/>
        </a:lnSpc>
        <a:spcBef>
          <a:spcPct val="0"/>
        </a:spcBef>
        <a:spcAft>
          <a:spcPct val="0"/>
        </a:spcAft>
        <a:defRPr sz="2600">
          <a:solidFill>
            <a:schemeClr val="tx1"/>
          </a:solidFill>
          <a:latin typeface="Arial" charset="0"/>
          <a:ea typeface="ＭＳ Ｐゴシック" pitchFamily="34" charset="-128"/>
          <a:cs typeface="ＭＳ Ｐゴシック" pitchFamily="-109" charset="-128"/>
        </a:defRPr>
      </a:lvl3pPr>
      <a:lvl4pPr algn="l" rtl="0" eaLnBrk="1" fontAlgn="base" hangingPunct="1">
        <a:lnSpc>
          <a:spcPct val="90000"/>
        </a:lnSpc>
        <a:spcBef>
          <a:spcPct val="0"/>
        </a:spcBef>
        <a:spcAft>
          <a:spcPct val="0"/>
        </a:spcAft>
        <a:defRPr sz="2600">
          <a:solidFill>
            <a:schemeClr val="tx1"/>
          </a:solidFill>
          <a:latin typeface="Arial" charset="0"/>
          <a:ea typeface="ＭＳ Ｐゴシック" pitchFamily="34" charset="-128"/>
          <a:cs typeface="ＭＳ Ｐゴシック" pitchFamily="-109" charset="-128"/>
        </a:defRPr>
      </a:lvl4pPr>
      <a:lvl5pPr algn="l" rtl="0" eaLnBrk="1" fontAlgn="base" hangingPunct="1">
        <a:lnSpc>
          <a:spcPct val="90000"/>
        </a:lnSpc>
        <a:spcBef>
          <a:spcPct val="0"/>
        </a:spcBef>
        <a:spcAft>
          <a:spcPct val="0"/>
        </a:spcAft>
        <a:defRPr sz="2600">
          <a:solidFill>
            <a:schemeClr val="tx1"/>
          </a:solidFill>
          <a:latin typeface="Arial" charset="0"/>
          <a:ea typeface="ＭＳ Ｐゴシック" pitchFamily="34" charset="-128"/>
          <a:cs typeface="ＭＳ Ｐゴシック" pitchFamily="-109" charset="-128"/>
        </a:defRPr>
      </a:lvl5pPr>
      <a:lvl6pPr marL="504566" algn="l" rtl="0" eaLnBrk="1" fontAlgn="base" hangingPunct="1">
        <a:lnSpc>
          <a:spcPct val="90000"/>
        </a:lnSpc>
        <a:spcBef>
          <a:spcPct val="0"/>
        </a:spcBef>
        <a:spcAft>
          <a:spcPct val="0"/>
        </a:spcAft>
        <a:tabLst>
          <a:tab pos="735825" algn="l"/>
        </a:tabLst>
        <a:defRPr sz="2600" b="1">
          <a:solidFill>
            <a:schemeClr val="tx1"/>
          </a:solidFill>
          <a:latin typeface="Arial" charset="0"/>
        </a:defRPr>
      </a:lvl6pPr>
      <a:lvl7pPr marL="1009132" algn="l" rtl="0" eaLnBrk="1" fontAlgn="base" hangingPunct="1">
        <a:lnSpc>
          <a:spcPct val="90000"/>
        </a:lnSpc>
        <a:spcBef>
          <a:spcPct val="0"/>
        </a:spcBef>
        <a:spcAft>
          <a:spcPct val="0"/>
        </a:spcAft>
        <a:tabLst>
          <a:tab pos="735825" algn="l"/>
        </a:tabLst>
        <a:defRPr sz="2600" b="1">
          <a:solidFill>
            <a:schemeClr val="tx1"/>
          </a:solidFill>
          <a:latin typeface="Arial" charset="0"/>
        </a:defRPr>
      </a:lvl7pPr>
      <a:lvl8pPr marL="1513698" algn="l" rtl="0" eaLnBrk="1" fontAlgn="base" hangingPunct="1">
        <a:lnSpc>
          <a:spcPct val="90000"/>
        </a:lnSpc>
        <a:spcBef>
          <a:spcPct val="0"/>
        </a:spcBef>
        <a:spcAft>
          <a:spcPct val="0"/>
        </a:spcAft>
        <a:tabLst>
          <a:tab pos="735825" algn="l"/>
        </a:tabLst>
        <a:defRPr sz="2600" b="1">
          <a:solidFill>
            <a:schemeClr val="tx1"/>
          </a:solidFill>
          <a:latin typeface="Arial" charset="0"/>
        </a:defRPr>
      </a:lvl8pPr>
      <a:lvl9pPr marL="2018264" algn="l" rtl="0" eaLnBrk="1" fontAlgn="base" hangingPunct="1">
        <a:lnSpc>
          <a:spcPct val="90000"/>
        </a:lnSpc>
        <a:spcBef>
          <a:spcPct val="0"/>
        </a:spcBef>
        <a:spcAft>
          <a:spcPct val="0"/>
        </a:spcAft>
        <a:tabLst>
          <a:tab pos="735825" algn="l"/>
        </a:tabLst>
        <a:defRPr sz="2600" b="1">
          <a:solidFill>
            <a:schemeClr val="tx1"/>
          </a:solidFill>
          <a:latin typeface="Arial" charset="0"/>
        </a:defRPr>
      </a:lvl9pPr>
    </p:titleStyle>
    <p:bodyStyle>
      <a:lvl1pPr algn="l" rtl="0" eaLnBrk="1" fontAlgn="base" hangingPunct="1">
        <a:lnSpc>
          <a:spcPct val="106000"/>
        </a:lnSpc>
        <a:spcBef>
          <a:spcPts val="800"/>
        </a:spcBef>
        <a:spcAft>
          <a:spcPts val="0"/>
        </a:spcAft>
        <a:defRPr sz="1000" b="1" kern="1200">
          <a:solidFill>
            <a:schemeClr val="accent2"/>
          </a:solidFill>
          <a:latin typeface="+mn-lt"/>
          <a:ea typeface="ＭＳ Ｐゴシック" pitchFamily="-109" charset="-128"/>
          <a:cs typeface="ＭＳ Ｐゴシック" pitchFamily="-109" charset="-128"/>
        </a:defRPr>
      </a:lvl1pPr>
      <a:lvl2pPr algn="l" rtl="0" eaLnBrk="1" fontAlgn="base" hangingPunct="1">
        <a:lnSpc>
          <a:spcPct val="106000"/>
        </a:lnSpc>
        <a:spcBef>
          <a:spcPts val="200"/>
        </a:spcBef>
        <a:spcAft>
          <a:spcPts val="0"/>
        </a:spcAft>
        <a:defRPr sz="1000" kern="1200">
          <a:solidFill>
            <a:schemeClr val="bg2"/>
          </a:solidFill>
          <a:latin typeface="+mn-lt"/>
          <a:ea typeface="ＭＳ Ｐゴシック" pitchFamily="-109" charset="-128"/>
        </a:defRPr>
      </a:lvl2pPr>
      <a:lvl3pPr marL="9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3pPr>
      <a:lvl4pPr marL="18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4pPr>
      <a:lvl5pPr marL="0" indent="0" algn="l" rtl="0" eaLnBrk="1" fontAlgn="base" hangingPunct="1">
        <a:lnSpc>
          <a:spcPct val="106000"/>
        </a:lnSpc>
        <a:spcBef>
          <a:spcPts val="1200"/>
        </a:spcBef>
        <a:spcAft>
          <a:spcPts val="0"/>
        </a:spcAft>
        <a:buFont typeface="Arial" panose="020B0604020202020204" pitchFamily="34" charset="0"/>
        <a:buNone/>
        <a:defRPr sz="12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p:bodyStyle>
    <p:otherStyle>
      <a:defPPr>
        <a:defRPr lang="en-US"/>
      </a:defPPr>
      <a:lvl1pPr marL="0" algn="l" defTabSz="1009132" rtl="0" eaLnBrk="1" latinLnBrk="0" hangingPunct="1">
        <a:defRPr sz="2000" kern="1200">
          <a:solidFill>
            <a:schemeClr val="tx1"/>
          </a:solidFill>
          <a:latin typeface="+mn-lt"/>
          <a:ea typeface="+mn-ea"/>
          <a:cs typeface="+mn-cs"/>
        </a:defRPr>
      </a:lvl1pPr>
      <a:lvl2pPr marL="504566" algn="l" defTabSz="1009132" rtl="0" eaLnBrk="1" latinLnBrk="0" hangingPunct="1">
        <a:defRPr sz="2000" kern="1200">
          <a:solidFill>
            <a:schemeClr val="tx1"/>
          </a:solidFill>
          <a:latin typeface="+mn-lt"/>
          <a:ea typeface="+mn-ea"/>
          <a:cs typeface="+mn-cs"/>
        </a:defRPr>
      </a:lvl2pPr>
      <a:lvl3pPr marL="1009132" algn="l" defTabSz="1009132" rtl="0" eaLnBrk="1" latinLnBrk="0" hangingPunct="1">
        <a:defRPr sz="2000" kern="1200">
          <a:solidFill>
            <a:schemeClr val="tx1"/>
          </a:solidFill>
          <a:latin typeface="+mn-lt"/>
          <a:ea typeface="+mn-ea"/>
          <a:cs typeface="+mn-cs"/>
        </a:defRPr>
      </a:lvl3pPr>
      <a:lvl4pPr marL="1513698" algn="l" defTabSz="1009132" rtl="0" eaLnBrk="1" latinLnBrk="0" hangingPunct="1">
        <a:defRPr sz="2000" kern="1200">
          <a:solidFill>
            <a:schemeClr val="tx1"/>
          </a:solidFill>
          <a:latin typeface="+mn-lt"/>
          <a:ea typeface="+mn-ea"/>
          <a:cs typeface="+mn-cs"/>
        </a:defRPr>
      </a:lvl4pPr>
      <a:lvl5pPr marL="2018264" algn="l" defTabSz="1009132" rtl="0" eaLnBrk="1" latinLnBrk="0" hangingPunct="1">
        <a:defRPr sz="2000" kern="1200">
          <a:solidFill>
            <a:schemeClr val="tx1"/>
          </a:solidFill>
          <a:latin typeface="+mn-lt"/>
          <a:ea typeface="+mn-ea"/>
          <a:cs typeface="+mn-cs"/>
        </a:defRPr>
      </a:lvl5pPr>
      <a:lvl6pPr marL="2522830" algn="l" defTabSz="1009132" rtl="0" eaLnBrk="1" latinLnBrk="0" hangingPunct="1">
        <a:defRPr sz="2000" kern="1200">
          <a:solidFill>
            <a:schemeClr val="tx1"/>
          </a:solidFill>
          <a:latin typeface="+mn-lt"/>
          <a:ea typeface="+mn-ea"/>
          <a:cs typeface="+mn-cs"/>
        </a:defRPr>
      </a:lvl6pPr>
      <a:lvl7pPr marL="3027396" algn="l" defTabSz="1009132" rtl="0" eaLnBrk="1" latinLnBrk="0" hangingPunct="1">
        <a:defRPr sz="2000" kern="1200">
          <a:solidFill>
            <a:schemeClr val="tx1"/>
          </a:solidFill>
          <a:latin typeface="+mn-lt"/>
          <a:ea typeface="+mn-ea"/>
          <a:cs typeface="+mn-cs"/>
        </a:defRPr>
      </a:lvl7pPr>
      <a:lvl8pPr marL="3531961" algn="l" defTabSz="1009132" rtl="0" eaLnBrk="1" latinLnBrk="0" hangingPunct="1">
        <a:defRPr sz="2000" kern="1200">
          <a:solidFill>
            <a:schemeClr val="tx1"/>
          </a:solidFill>
          <a:latin typeface="+mn-lt"/>
          <a:ea typeface="+mn-ea"/>
          <a:cs typeface="+mn-cs"/>
        </a:defRPr>
      </a:lvl8pPr>
      <a:lvl9pPr marL="4036527" algn="l" defTabSz="1009132"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6" userDrawn="1">
          <p15:clr>
            <a:srgbClr val="F26B43"/>
          </p15:clr>
        </p15:guide>
        <p15:guide id="2" pos="437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microsoft.com/office/2018/10/relationships/comments" Target="../comments/modernComment_116_8C9CC5D3.xml"/><Relationship Id="rId2" Type="http://schemas.openxmlformats.org/officeDocument/2006/relationships/notesSlide" Target="../notesSlides/notesSlide3.xml"/><Relationship Id="rId1" Type="http://schemas.openxmlformats.org/officeDocument/2006/relationships/slideLayout" Target="../slideLayouts/slideLayout8.xml"/><Relationship Id="rId5" Type="http://schemas.openxmlformats.org/officeDocument/2006/relationships/image" Target="../media/image8.png"/><Relationship Id="rId4" Type="http://schemas.openxmlformats.org/officeDocument/2006/relationships/image" Target="../media/image7.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el 50"/>
          <p:cNvSpPr>
            <a:spLocks noGrp="1"/>
          </p:cNvSpPr>
          <p:nvPr>
            <p:ph type="title"/>
          </p:nvPr>
        </p:nvSpPr>
        <p:spPr>
          <a:xfrm>
            <a:off x="604930" y="2445558"/>
            <a:ext cx="6762218" cy="380104"/>
          </a:xfrm>
        </p:spPr>
        <p:txBody>
          <a:bodyPr vert="horz" wrap="square" lIns="0" tIns="0" rIns="0" bIns="0" rtlCol="0" anchor="t">
            <a:spAutoFit/>
          </a:bodyPr>
          <a:lstStyle/>
          <a:p>
            <a:r>
              <a:rPr lang="it-IT" sz="1300" dirty="0">
                <a:ea typeface="+mn-ea"/>
              </a:rPr>
              <a:t>Ottimisti, sì — euforici, no: non trascurare i rischi nei mercati</a:t>
            </a:r>
            <a:br>
              <a:rPr lang="it-IT" sz="1300" dirty="0">
                <a:ea typeface="+mn-ea"/>
              </a:rPr>
            </a:br>
            <a:endParaRPr lang="de-DE" sz="1300" dirty="0">
              <a:ea typeface="+mn-ea"/>
            </a:endParaRPr>
          </a:p>
        </p:txBody>
      </p:sp>
      <p:sp>
        <p:nvSpPr>
          <p:cNvPr id="52" name="Textplatzhalter 51"/>
          <p:cNvSpPr>
            <a:spLocks noGrp="1"/>
          </p:cNvSpPr>
          <p:nvPr>
            <p:ph type="body" sz="quarter" idx="15"/>
          </p:nvPr>
        </p:nvSpPr>
        <p:spPr>
          <a:xfrm>
            <a:off x="612278" y="2231386"/>
            <a:ext cx="136256" cy="169277"/>
          </a:xfrm>
        </p:spPr>
        <p:txBody>
          <a:bodyPr/>
          <a:lstStyle/>
          <a:p>
            <a:r>
              <a:rPr lang="de-DE" dirty="0">
                <a:latin typeface="DWS Sans Light" panose="02010404010101010104" pitchFamily="50" charset="0"/>
                <a:cs typeface="DWS Sans Light" panose="02010404010101010104" pitchFamily="50" charset="0"/>
              </a:rPr>
              <a:t>#1</a:t>
            </a:r>
          </a:p>
        </p:txBody>
      </p:sp>
      <p:sp>
        <p:nvSpPr>
          <p:cNvPr id="53" name="Textplatzhalter 52"/>
          <p:cNvSpPr>
            <a:spLocks noGrp="1"/>
          </p:cNvSpPr>
          <p:nvPr>
            <p:ph type="body" sz="quarter" idx="16"/>
          </p:nvPr>
        </p:nvSpPr>
        <p:spPr>
          <a:xfrm>
            <a:off x="828303" y="2231386"/>
            <a:ext cx="6120680" cy="169277"/>
          </a:xfrm>
        </p:spPr>
        <p:txBody>
          <a:bodyPr/>
          <a:lstStyle/>
          <a:p>
            <a:r>
              <a:rPr lang="de-DE" dirty="0" err="1"/>
              <a:t>Mercati</a:t>
            </a:r>
            <a:r>
              <a:rPr lang="de-DE" dirty="0"/>
              <a:t> e </a:t>
            </a:r>
            <a:r>
              <a:rPr lang="de-DE" dirty="0" err="1"/>
              <a:t>Macro</a:t>
            </a:r>
            <a:r>
              <a:rPr lang="de-DE" dirty="0"/>
              <a:t> </a:t>
            </a:r>
          </a:p>
        </p:txBody>
      </p:sp>
      <p:sp>
        <p:nvSpPr>
          <p:cNvPr id="6" name="Textplatzhalter 5">
            <a:extLst>
              <a:ext uri="{FF2B5EF4-FFF2-40B4-BE49-F238E27FC236}">
                <a16:creationId xmlns:a16="http://schemas.microsoft.com/office/drawing/2014/main" id="{EF4BA5C7-6C31-484A-B0F3-CA3BA619E33A}"/>
              </a:ext>
            </a:extLst>
          </p:cNvPr>
          <p:cNvSpPr>
            <a:spLocks noGrp="1"/>
          </p:cNvSpPr>
          <p:nvPr>
            <p:ph type="body" sz="quarter" idx="12"/>
          </p:nvPr>
        </p:nvSpPr>
        <p:spPr>
          <a:xfrm>
            <a:off x="612775" y="2705343"/>
            <a:ext cx="3167856" cy="2938433"/>
          </a:xfrm>
        </p:spPr>
        <p:txBody>
          <a:bodyPr wrap="square">
            <a:spAutoFit/>
          </a:bodyPr>
          <a:lstStyle/>
          <a:p>
            <a:r>
              <a:rPr lang="de-DE" dirty="0"/>
              <a:t>	</a:t>
            </a:r>
            <a:r>
              <a:rPr lang="de-DE" sz="900" b="0" dirty="0">
                <a:solidFill>
                  <a:schemeClr val="bg2"/>
                </a:solidFill>
              </a:rPr>
              <a:t>“</a:t>
            </a:r>
            <a:r>
              <a:rPr lang="it-IT" sz="900" b="0" dirty="0">
                <a:solidFill>
                  <a:schemeClr val="bg2"/>
                </a:solidFill>
                <a:latin typeface="DWS Sans Light" panose="02010404010101010104" pitchFamily="50" charset="0"/>
                <a:cs typeface="DWS Sans Light" panose="02010404010101010104" pitchFamily="50" charset="0"/>
              </a:rPr>
              <a:t>I mercati sono cronicamente ottimisti, 	realistici o addirittura ciechi di fronte al 	rischio? Non esiste una risposta definitiva 	a questa domanda. “Ciò che è chiaro è 	che stiamo operando in un contesto di 	incertezza significativamente elevata”, 	afferma il </a:t>
            </a:r>
            <a:r>
              <a:rPr lang="it-IT" sz="900" b="0" dirty="0" err="1">
                <a:solidFill>
                  <a:schemeClr val="bg2"/>
                </a:solidFill>
                <a:latin typeface="DWS Sans Light" panose="02010404010101010104" pitchFamily="50" charset="0"/>
                <a:cs typeface="DWS Sans Light" panose="02010404010101010104" pitchFamily="50" charset="0"/>
              </a:rPr>
              <a:t>Chief</a:t>
            </a:r>
            <a:r>
              <a:rPr lang="it-IT" sz="900" b="0" dirty="0">
                <a:solidFill>
                  <a:schemeClr val="bg2"/>
                </a:solidFill>
                <a:latin typeface="DWS Sans Light" panose="02010404010101010104" pitchFamily="50" charset="0"/>
                <a:cs typeface="DWS Sans Light" panose="02010404010101010104" pitchFamily="50" charset="0"/>
              </a:rPr>
              <a:t> Investment Strategist Vincenzo Vedda. “Riteniamo che le prospettive a medio termine per i mercati dei capitali rimangano costruttive. Allo stesso tempo, i rischi di reazioni estreme del mercato a breve termine non dovrebbero essere sottovalutati.” Un’indicazione di questo ambiente fragile e ambivalente: i drammatici crolli dei prezzi di oro e argento alla fine di gennaio. Un’altra: la rapida impennata dell’indice </a:t>
            </a:r>
            <a:r>
              <a:rPr lang="it-IT" sz="900" b="0" dirty="0" err="1">
                <a:solidFill>
                  <a:schemeClr val="bg2"/>
                </a:solidFill>
                <a:latin typeface="DWS Sans Light" panose="02010404010101010104" pitchFamily="50" charset="0"/>
                <a:cs typeface="DWS Sans Light" panose="02010404010101010104" pitchFamily="50" charset="0"/>
              </a:rPr>
              <a:t>Kospi</a:t>
            </a:r>
            <a:r>
              <a:rPr lang="it-IT" sz="900" b="0" dirty="0">
                <a:solidFill>
                  <a:schemeClr val="bg2"/>
                </a:solidFill>
                <a:latin typeface="DWS Sans Light" panose="02010404010101010104" pitchFamily="50" charset="0"/>
                <a:cs typeface="DWS Sans Light" panose="02010404010101010104" pitchFamily="50" charset="0"/>
              </a:rPr>
              <a:t> della Corea del Sud, che è schizzato di un sorprendente 130% dal primo shock tariffario innescato dal Presidente USA Trump il 2 aprile 2025. Quasi tutto sembra possibile — sia al rialzo sia al ribasso. È necessaria una dose di realismo quando si analizzano l’intelligenza artificiale (AI) e la tecnologia in modo più ampio.</a:t>
            </a:r>
          </a:p>
          <a:p>
            <a:pPr lvl="1">
              <a:spcBef>
                <a:spcPts val="0"/>
              </a:spcBef>
              <a:tabLst>
                <a:tab pos="804863" algn="l"/>
              </a:tabLst>
            </a:pPr>
            <a:endParaRPr lang="de-DE" dirty="0"/>
          </a:p>
        </p:txBody>
      </p:sp>
      <p:sp>
        <p:nvSpPr>
          <p:cNvPr id="54" name="Textplatzhalter 53"/>
          <p:cNvSpPr>
            <a:spLocks noGrp="1"/>
          </p:cNvSpPr>
          <p:nvPr>
            <p:ph type="body" sz="quarter" idx="17"/>
          </p:nvPr>
        </p:nvSpPr>
        <p:spPr>
          <a:xfrm>
            <a:off x="612775" y="1642185"/>
            <a:ext cx="6336208" cy="492443"/>
          </a:xfrm>
        </p:spPr>
        <p:txBody>
          <a:bodyPr/>
          <a:lstStyle/>
          <a:p>
            <a:r>
              <a:rPr lang="de-DE" dirty="0"/>
              <a:t>Market Outlook</a:t>
            </a:r>
          </a:p>
        </p:txBody>
      </p:sp>
      <p:sp>
        <p:nvSpPr>
          <p:cNvPr id="91" name="Textplatzhalter 90"/>
          <p:cNvSpPr>
            <a:spLocks noGrp="1"/>
          </p:cNvSpPr>
          <p:nvPr>
            <p:ph type="body" sz="quarter" idx="18"/>
          </p:nvPr>
        </p:nvSpPr>
        <p:spPr/>
        <p:txBody>
          <a:bodyPr/>
          <a:lstStyle/>
          <a:p>
            <a:r>
              <a:rPr lang="de-DE" dirty="0"/>
              <a:t> </a:t>
            </a:r>
          </a:p>
        </p:txBody>
      </p:sp>
      <p:sp>
        <p:nvSpPr>
          <p:cNvPr id="110" name="Textplatzhalter 109"/>
          <p:cNvSpPr>
            <a:spLocks noGrp="1"/>
          </p:cNvSpPr>
          <p:nvPr>
            <p:ph type="body" sz="quarter" idx="40"/>
          </p:nvPr>
        </p:nvSpPr>
        <p:spPr>
          <a:xfrm>
            <a:off x="612279" y="10157662"/>
            <a:ext cx="6336210" cy="337785"/>
          </a:xfrm>
        </p:spPr>
        <p:txBody>
          <a:bodyPr wrap="square">
            <a:spAutoFit/>
          </a:bodyPr>
          <a:lstStyle/>
          <a:p>
            <a:pPr lvl="1"/>
            <a:br>
              <a:rPr lang="de-DE" dirty="0"/>
            </a:br>
            <a:r>
              <a:rPr lang="it-IT" dirty="0">
                <a:solidFill>
                  <a:schemeClr val="tx1">
                    <a:lumMod val="50000"/>
                  </a:schemeClr>
                </a:solidFill>
              </a:rPr>
              <a:t>Le previsioni si basano su ipotesi, stime, opinioni e modelli o analisi ipotetiche che potrebbero rivelarsi incorretti. Fonte: DWS Investment GmbH, dati al </a:t>
            </a:r>
            <a:r>
              <a:rPr lang="en-GB" dirty="0">
                <a:solidFill>
                  <a:schemeClr val="tx1">
                    <a:lumMod val="50000"/>
                  </a:schemeClr>
                </a:solidFill>
              </a:rPr>
              <a:t>5</a:t>
            </a:r>
            <a:r>
              <a:rPr lang="en-GB" dirty="0"/>
              <a:t> </a:t>
            </a:r>
            <a:r>
              <a:rPr lang="en-GB" dirty="0" err="1"/>
              <a:t>febbraio</a:t>
            </a:r>
            <a:r>
              <a:rPr lang="en-GB" dirty="0"/>
              <a:t> 2026</a:t>
            </a:r>
            <a:endParaRPr lang="de-DE" dirty="0"/>
          </a:p>
        </p:txBody>
      </p:sp>
      <p:sp>
        <p:nvSpPr>
          <p:cNvPr id="57" name="Textplatzhalter 56"/>
          <p:cNvSpPr>
            <a:spLocks noGrp="1"/>
          </p:cNvSpPr>
          <p:nvPr>
            <p:ph type="body" sz="quarter" idx="19"/>
          </p:nvPr>
        </p:nvSpPr>
        <p:spPr>
          <a:xfrm>
            <a:off x="612279" y="690406"/>
            <a:ext cx="730969" cy="138499"/>
          </a:xfrm>
        </p:spPr>
        <p:txBody>
          <a:bodyPr/>
          <a:lstStyle/>
          <a:p>
            <a:r>
              <a:rPr lang="de-DE" dirty="0" err="1">
                <a:latin typeface="DWS Sans Light" panose="02010404010101010104" pitchFamily="50" charset="0"/>
                <a:cs typeface="DWS Sans Light" panose="02010404010101010104" pitchFamily="50" charset="0"/>
              </a:rPr>
              <a:t>Febbraio</a:t>
            </a:r>
            <a:r>
              <a:rPr lang="de-DE" dirty="0">
                <a:latin typeface="DWS Sans Light" panose="02010404010101010104" pitchFamily="50" charset="0"/>
                <a:cs typeface="DWS Sans Light" panose="02010404010101010104" pitchFamily="50" charset="0"/>
              </a:rPr>
              <a:t> 2026</a:t>
            </a:r>
          </a:p>
        </p:txBody>
      </p:sp>
      <p:sp>
        <p:nvSpPr>
          <p:cNvPr id="58" name="Textplatzhalter 57"/>
          <p:cNvSpPr>
            <a:spLocks noGrp="1"/>
          </p:cNvSpPr>
          <p:nvPr>
            <p:ph type="body" sz="quarter" idx="20"/>
          </p:nvPr>
        </p:nvSpPr>
        <p:spPr>
          <a:xfrm>
            <a:off x="2345519" y="366674"/>
            <a:ext cx="520976" cy="138499"/>
          </a:xfrm>
        </p:spPr>
        <p:txBody>
          <a:bodyPr/>
          <a:lstStyle/>
          <a:p>
            <a:r>
              <a:rPr lang="de-DE" dirty="0" err="1">
                <a:latin typeface="DWS Sans Light" panose="02010404010101010104" pitchFamily="50" charset="0"/>
                <a:cs typeface="DWS Sans Light" panose="02010404010101010104" pitchFamily="50" charset="0"/>
              </a:rPr>
              <a:t>Sommario</a:t>
            </a:r>
            <a:endParaRPr lang="de-DE" dirty="0">
              <a:latin typeface="DWS Sans Light" panose="02010404010101010104" pitchFamily="50" charset="0"/>
              <a:cs typeface="DWS Sans Light" panose="02010404010101010104" pitchFamily="50" charset="0"/>
            </a:endParaRPr>
          </a:p>
        </p:txBody>
      </p:sp>
      <p:sp>
        <p:nvSpPr>
          <p:cNvPr id="59" name="Textplatzhalter 58"/>
          <p:cNvSpPr>
            <a:spLocks noGrp="1"/>
          </p:cNvSpPr>
          <p:nvPr>
            <p:ph type="body" sz="quarter" idx="21"/>
          </p:nvPr>
        </p:nvSpPr>
        <p:spPr>
          <a:xfrm>
            <a:off x="2291314" y="510555"/>
            <a:ext cx="110608" cy="138499"/>
          </a:xfrm>
        </p:spPr>
        <p:txBody>
          <a:bodyPr/>
          <a:lstStyle/>
          <a:p>
            <a:r>
              <a:rPr lang="de-DE" dirty="0">
                <a:latin typeface="DWS Sans Light" panose="02010404010101010104" pitchFamily="50" charset="0"/>
                <a:cs typeface="DWS Sans Light" panose="02010404010101010104" pitchFamily="50" charset="0"/>
              </a:rPr>
              <a:t>#1</a:t>
            </a:r>
          </a:p>
        </p:txBody>
      </p:sp>
      <p:sp>
        <p:nvSpPr>
          <p:cNvPr id="60" name="Textplatzhalter 59"/>
          <p:cNvSpPr>
            <a:spLocks noGrp="1"/>
          </p:cNvSpPr>
          <p:nvPr>
            <p:ph type="body" sz="quarter" idx="22"/>
          </p:nvPr>
        </p:nvSpPr>
        <p:spPr/>
        <p:txBody>
          <a:bodyPr/>
          <a:lstStyle/>
          <a:p>
            <a:r>
              <a:rPr lang="de-DE" dirty="0">
                <a:latin typeface="DWS Sans Light" panose="02010404010101010104" pitchFamily="50" charset="0"/>
                <a:cs typeface="DWS Sans Light" panose="02010404010101010104" pitchFamily="50" charset="0"/>
              </a:rPr>
              <a:t>#2</a:t>
            </a:r>
          </a:p>
        </p:txBody>
      </p:sp>
      <p:sp>
        <p:nvSpPr>
          <p:cNvPr id="61" name="Textplatzhalter 60"/>
          <p:cNvSpPr>
            <a:spLocks noGrp="1"/>
          </p:cNvSpPr>
          <p:nvPr>
            <p:ph type="body" sz="quarter" idx="23"/>
          </p:nvPr>
        </p:nvSpPr>
        <p:spPr>
          <a:xfrm>
            <a:off x="2058295" y="798317"/>
            <a:ext cx="131446" cy="138499"/>
          </a:xfrm>
        </p:spPr>
        <p:txBody>
          <a:bodyPr/>
          <a:lstStyle/>
          <a:p>
            <a:r>
              <a:rPr lang="de-DE" dirty="0">
                <a:latin typeface="DWS Sans Light" panose="02010404010101010104" pitchFamily="50" charset="0"/>
                <a:cs typeface="DWS Sans Light" panose="02010404010101010104" pitchFamily="50" charset="0"/>
              </a:rPr>
              <a:t>#3</a:t>
            </a:r>
          </a:p>
        </p:txBody>
      </p:sp>
      <p:sp>
        <p:nvSpPr>
          <p:cNvPr id="62" name="Textplatzhalter 61"/>
          <p:cNvSpPr>
            <a:spLocks noGrp="1"/>
          </p:cNvSpPr>
          <p:nvPr>
            <p:ph type="body" sz="quarter" idx="24"/>
          </p:nvPr>
        </p:nvSpPr>
        <p:spPr>
          <a:xfrm>
            <a:off x="1941960" y="942198"/>
            <a:ext cx="134652" cy="138499"/>
          </a:xfrm>
        </p:spPr>
        <p:txBody>
          <a:bodyPr/>
          <a:lstStyle/>
          <a:p>
            <a:r>
              <a:rPr lang="de-DE" dirty="0">
                <a:latin typeface="DWS Sans Light" panose="02010404010101010104" pitchFamily="50" charset="0"/>
                <a:cs typeface="DWS Sans Light" panose="02010404010101010104" pitchFamily="50" charset="0"/>
              </a:rPr>
              <a:t>#4</a:t>
            </a:r>
          </a:p>
        </p:txBody>
      </p:sp>
      <p:sp>
        <p:nvSpPr>
          <p:cNvPr id="64" name="Textplatzhalter 63"/>
          <p:cNvSpPr>
            <a:spLocks noGrp="1"/>
          </p:cNvSpPr>
          <p:nvPr>
            <p:ph type="body" sz="quarter" idx="25"/>
          </p:nvPr>
        </p:nvSpPr>
        <p:spPr>
          <a:xfrm>
            <a:off x="1825625" y="1086079"/>
            <a:ext cx="131446" cy="138499"/>
          </a:xfrm>
        </p:spPr>
        <p:txBody>
          <a:bodyPr/>
          <a:lstStyle/>
          <a:p>
            <a:r>
              <a:rPr lang="de-DE" dirty="0">
                <a:latin typeface="DWS Sans Light" panose="02010404010101010104" pitchFamily="50" charset="0"/>
                <a:cs typeface="DWS Sans Light" panose="02010404010101010104" pitchFamily="50" charset="0"/>
              </a:rPr>
              <a:t>#5</a:t>
            </a:r>
          </a:p>
        </p:txBody>
      </p:sp>
      <p:sp>
        <p:nvSpPr>
          <p:cNvPr id="65" name="Textplatzhalter 64"/>
          <p:cNvSpPr>
            <a:spLocks noGrp="1"/>
          </p:cNvSpPr>
          <p:nvPr>
            <p:ph type="body" sz="quarter" idx="26"/>
          </p:nvPr>
        </p:nvSpPr>
        <p:spPr>
          <a:xfrm>
            <a:off x="2476564" y="510555"/>
            <a:ext cx="819135" cy="138499"/>
          </a:xfrm>
        </p:spPr>
        <p:txBody>
          <a:bodyPr/>
          <a:lstStyle/>
          <a:p>
            <a:r>
              <a:rPr lang="de-DE" dirty="0" err="1">
                <a:latin typeface="DWS Sans Light" panose="02010404010101010104" pitchFamily="50" charset="0"/>
                <a:cs typeface="DWS Sans Light" panose="02010404010101010104" pitchFamily="50" charset="0"/>
              </a:rPr>
              <a:t>Mercati</a:t>
            </a:r>
            <a:r>
              <a:rPr lang="de-DE" dirty="0">
                <a:latin typeface="DWS Sans Light" panose="02010404010101010104" pitchFamily="50" charset="0"/>
                <a:cs typeface="DWS Sans Light" panose="02010404010101010104" pitchFamily="50" charset="0"/>
              </a:rPr>
              <a:t> e </a:t>
            </a:r>
            <a:r>
              <a:rPr lang="de-DE" dirty="0" err="1">
                <a:latin typeface="DWS Sans Light" panose="02010404010101010104" pitchFamily="50" charset="0"/>
                <a:cs typeface="DWS Sans Light" panose="02010404010101010104" pitchFamily="50" charset="0"/>
              </a:rPr>
              <a:t>Macro</a:t>
            </a:r>
            <a:endParaRPr lang="de-DE" dirty="0">
              <a:latin typeface="DWS Sans Light" panose="02010404010101010104" pitchFamily="50" charset="0"/>
              <a:cs typeface="DWS Sans Light" panose="02010404010101010104" pitchFamily="50" charset="0"/>
            </a:endParaRPr>
          </a:p>
        </p:txBody>
      </p:sp>
      <p:sp>
        <p:nvSpPr>
          <p:cNvPr id="66" name="Textplatzhalter 65"/>
          <p:cNvSpPr>
            <a:spLocks noGrp="1"/>
          </p:cNvSpPr>
          <p:nvPr>
            <p:ph type="body" sz="quarter" idx="27"/>
          </p:nvPr>
        </p:nvSpPr>
        <p:spPr>
          <a:xfrm>
            <a:off x="2359880" y="654436"/>
            <a:ext cx="471283" cy="138499"/>
          </a:xfrm>
        </p:spPr>
        <p:txBody>
          <a:bodyPr/>
          <a:lstStyle/>
          <a:p>
            <a:r>
              <a:rPr lang="de-DE" dirty="0" err="1">
                <a:latin typeface="DWS Sans Light" panose="02010404010101010104" pitchFamily="50" charset="0"/>
                <a:cs typeface="DWS Sans Light" panose="02010404010101010104" pitchFamily="50" charset="0"/>
              </a:rPr>
              <a:t>Azionario</a:t>
            </a:r>
            <a:endParaRPr lang="de-DE" dirty="0">
              <a:latin typeface="DWS Sans Light" panose="02010404010101010104" pitchFamily="50" charset="0"/>
              <a:cs typeface="DWS Sans Light" panose="02010404010101010104" pitchFamily="50" charset="0"/>
            </a:endParaRPr>
          </a:p>
        </p:txBody>
      </p:sp>
      <p:sp>
        <p:nvSpPr>
          <p:cNvPr id="67" name="Textplatzhalter 66"/>
          <p:cNvSpPr>
            <a:spLocks noGrp="1"/>
          </p:cNvSpPr>
          <p:nvPr>
            <p:ph type="body" sz="quarter" idx="28"/>
          </p:nvPr>
        </p:nvSpPr>
        <p:spPr>
          <a:xfrm>
            <a:off x="2243545" y="798317"/>
            <a:ext cx="1261564" cy="138499"/>
          </a:xfrm>
        </p:spPr>
        <p:txBody>
          <a:bodyPr/>
          <a:lstStyle/>
          <a:p>
            <a:r>
              <a:rPr lang="de-DE" dirty="0">
                <a:latin typeface="DWS Sans Light" panose="02010404010101010104" pitchFamily="50" charset="0"/>
                <a:cs typeface="DWS Sans Light" panose="02010404010101010104" pitchFamily="50" charset="0"/>
              </a:rPr>
              <a:t>Multi-Asset/Fixed Income </a:t>
            </a:r>
          </a:p>
        </p:txBody>
      </p:sp>
      <p:sp>
        <p:nvSpPr>
          <p:cNvPr id="105" name="Textplatzhalter 65"/>
          <p:cNvSpPr>
            <a:spLocks noGrp="1"/>
          </p:cNvSpPr>
          <p:nvPr>
            <p:ph type="body" sz="quarter" idx="29"/>
          </p:nvPr>
        </p:nvSpPr>
        <p:spPr>
          <a:xfrm>
            <a:off x="2127210" y="942198"/>
            <a:ext cx="317395" cy="138499"/>
          </a:xfrm>
        </p:spPr>
        <p:txBody>
          <a:bodyPr/>
          <a:lstStyle/>
          <a:p>
            <a:r>
              <a:rPr lang="de-DE" dirty="0" err="1">
                <a:latin typeface="DWS Sans Light" panose="02010404010101010104" pitchFamily="50" charset="0"/>
                <a:cs typeface="DWS Sans Light" panose="02010404010101010104" pitchFamily="50" charset="0"/>
              </a:rPr>
              <a:t>Valute</a:t>
            </a:r>
            <a:endParaRPr lang="de-DE" dirty="0">
              <a:latin typeface="DWS Sans Light" panose="02010404010101010104" pitchFamily="50" charset="0"/>
              <a:cs typeface="DWS Sans Light" panose="02010404010101010104" pitchFamily="50" charset="0"/>
            </a:endParaRPr>
          </a:p>
        </p:txBody>
      </p:sp>
      <p:sp>
        <p:nvSpPr>
          <p:cNvPr id="100" name="Freihandform 99"/>
          <p:cNvSpPr/>
          <p:nvPr/>
        </p:nvSpPr>
        <p:spPr>
          <a:xfrm>
            <a:off x="5002534" y="4094613"/>
            <a:ext cx="1181378" cy="2576338"/>
          </a:xfrm>
          <a:custGeom>
            <a:avLst/>
            <a:gdLst>
              <a:gd name="connsiteX0" fmla="*/ 1181378 w 1181378"/>
              <a:gd name="connsiteY0" fmla="*/ 0 h 2576338"/>
              <a:gd name="connsiteX1" fmla="*/ 1181378 w 1181378"/>
              <a:gd name="connsiteY1" fmla="*/ 0 h 2576338"/>
              <a:gd name="connsiteX2" fmla="*/ 1101284 w 1181378"/>
              <a:gd name="connsiteY2" fmla="*/ 307024 h 2576338"/>
              <a:gd name="connsiteX3" fmla="*/ 861004 w 1181378"/>
              <a:gd name="connsiteY3" fmla="*/ 820957 h 2576338"/>
              <a:gd name="connsiteX4" fmla="*/ 714166 w 1181378"/>
              <a:gd name="connsiteY4" fmla="*/ 1268146 h 2576338"/>
              <a:gd name="connsiteX5" fmla="*/ 687468 w 1181378"/>
              <a:gd name="connsiteY5" fmla="*/ 1381611 h 2576338"/>
              <a:gd name="connsiteX6" fmla="*/ 567328 w 1181378"/>
              <a:gd name="connsiteY6" fmla="*/ 1728683 h 2576338"/>
              <a:gd name="connsiteX7" fmla="*/ 507258 w 1181378"/>
              <a:gd name="connsiteY7" fmla="*/ 1868846 h 2576338"/>
              <a:gd name="connsiteX8" fmla="*/ 460537 w 1181378"/>
              <a:gd name="connsiteY8" fmla="*/ 1982312 h 2576338"/>
              <a:gd name="connsiteX9" fmla="*/ 440514 w 1181378"/>
              <a:gd name="connsiteY9" fmla="*/ 2029033 h 2576338"/>
              <a:gd name="connsiteX10" fmla="*/ 313699 w 1181378"/>
              <a:gd name="connsiteY10" fmla="*/ 2215918 h 2576338"/>
              <a:gd name="connsiteX11" fmla="*/ 273652 w 1181378"/>
              <a:gd name="connsiteY11" fmla="*/ 2262639 h 2576338"/>
              <a:gd name="connsiteX12" fmla="*/ 186884 w 1181378"/>
              <a:gd name="connsiteY12" fmla="*/ 2382779 h 2576338"/>
              <a:gd name="connsiteX13" fmla="*/ 146838 w 1181378"/>
              <a:gd name="connsiteY13" fmla="*/ 2422826 h 2576338"/>
              <a:gd name="connsiteX14" fmla="*/ 126814 w 1181378"/>
              <a:gd name="connsiteY14" fmla="*/ 2442849 h 2576338"/>
              <a:gd name="connsiteX15" fmla="*/ 113465 w 1181378"/>
              <a:gd name="connsiteY15" fmla="*/ 2469547 h 2576338"/>
              <a:gd name="connsiteX16" fmla="*/ 73419 w 1181378"/>
              <a:gd name="connsiteY16" fmla="*/ 2516268 h 2576338"/>
              <a:gd name="connsiteX17" fmla="*/ 0 w 1181378"/>
              <a:gd name="connsiteY17" fmla="*/ 2576338 h 2576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1378" h="2576338">
                <a:moveTo>
                  <a:pt x="1181378" y="0"/>
                </a:moveTo>
                <a:lnTo>
                  <a:pt x="1181378" y="0"/>
                </a:lnTo>
                <a:cubicBezTo>
                  <a:pt x="1163155" y="103260"/>
                  <a:pt x="1148918" y="211755"/>
                  <a:pt x="1101284" y="307024"/>
                </a:cubicBezTo>
                <a:cubicBezTo>
                  <a:pt x="991146" y="527301"/>
                  <a:pt x="973322" y="556467"/>
                  <a:pt x="861004" y="820957"/>
                </a:cubicBezTo>
                <a:cubicBezTo>
                  <a:pt x="802229" y="959364"/>
                  <a:pt x="753665" y="1128737"/>
                  <a:pt x="714166" y="1268146"/>
                </a:cubicBezTo>
                <a:cubicBezTo>
                  <a:pt x="703574" y="1305529"/>
                  <a:pt x="699271" y="1344593"/>
                  <a:pt x="687468" y="1381611"/>
                </a:cubicBezTo>
                <a:cubicBezTo>
                  <a:pt x="650278" y="1498251"/>
                  <a:pt x="615554" y="1616156"/>
                  <a:pt x="567328" y="1728683"/>
                </a:cubicBezTo>
                <a:cubicBezTo>
                  <a:pt x="547305" y="1775404"/>
                  <a:pt x="524629" y="1821075"/>
                  <a:pt x="507258" y="1868846"/>
                </a:cubicBezTo>
                <a:cubicBezTo>
                  <a:pt x="459671" y="1999709"/>
                  <a:pt x="501254" y="1894090"/>
                  <a:pt x="460537" y="1982312"/>
                </a:cubicBezTo>
                <a:cubicBezTo>
                  <a:pt x="453437" y="1997696"/>
                  <a:pt x="449531" y="2014688"/>
                  <a:pt x="440514" y="2029033"/>
                </a:cubicBezTo>
                <a:cubicBezTo>
                  <a:pt x="400450" y="2092771"/>
                  <a:pt x="357457" y="2154658"/>
                  <a:pt x="313699" y="2215918"/>
                </a:cubicBezTo>
                <a:cubicBezTo>
                  <a:pt x="301777" y="2232609"/>
                  <a:pt x="286158" y="2246381"/>
                  <a:pt x="273652" y="2262639"/>
                </a:cubicBezTo>
                <a:cubicBezTo>
                  <a:pt x="182683" y="2380898"/>
                  <a:pt x="351764" y="2184922"/>
                  <a:pt x="186884" y="2382779"/>
                </a:cubicBezTo>
                <a:cubicBezTo>
                  <a:pt x="174799" y="2397282"/>
                  <a:pt x="160187" y="2409477"/>
                  <a:pt x="146838" y="2422826"/>
                </a:cubicBezTo>
                <a:lnTo>
                  <a:pt x="126814" y="2442849"/>
                </a:lnTo>
                <a:cubicBezTo>
                  <a:pt x="122364" y="2451748"/>
                  <a:pt x="118738" y="2461110"/>
                  <a:pt x="113465" y="2469547"/>
                </a:cubicBezTo>
                <a:cubicBezTo>
                  <a:pt x="101810" y="2488195"/>
                  <a:pt x="89402" y="2501617"/>
                  <a:pt x="73419" y="2516268"/>
                </a:cubicBezTo>
                <a:cubicBezTo>
                  <a:pt x="13883" y="2570843"/>
                  <a:pt x="36522" y="2558078"/>
                  <a:pt x="0" y="2576338"/>
                </a:cubicBezTo>
              </a:path>
            </a:pathLst>
          </a:cu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FFFFFF"/>
              </a:solidFill>
              <a:effectLst/>
              <a:uLnTx/>
              <a:uFillTx/>
              <a:latin typeface="DWS Sans Light" panose="02010404010101010104" pitchFamily="50" charset="0"/>
              <a:cs typeface="DWS Sans Light" panose="02010404010101010104" pitchFamily="50" charset="0"/>
            </a:endParaRPr>
          </a:p>
        </p:txBody>
      </p:sp>
      <p:sp>
        <p:nvSpPr>
          <p:cNvPr id="46" name="Textplatzhalter 4"/>
          <p:cNvSpPr txBox="1">
            <a:spLocks/>
          </p:cNvSpPr>
          <p:nvPr/>
        </p:nvSpPr>
        <p:spPr bwMode="gray">
          <a:xfrm>
            <a:off x="1433109" y="6136807"/>
            <a:ext cx="5660590" cy="184767"/>
          </a:xfrm>
          <a:prstGeom prst="rect">
            <a:avLst/>
          </a:prstGeom>
        </p:spPr>
        <p:txBody>
          <a:bodyPr vert="horz" lIns="0" tIns="0" rIns="0" bIns="0" rtlCol="0">
            <a:noAutofit/>
          </a:bodyPr>
          <a:lstStyle>
            <a:lvl1pPr algn="l" rtl="0" eaLnBrk="1" fontAlgn="base" hangingPunct="1">
              <a:lnSpc>
                <a:spcPct val="106000"/>
              </a:lnSpc>
              <a:spcBef>
                <a:spcPts val="800"/>
              </a:spcBef>
              <a:spcAft>
                <a:spcPts val="0"/>
              </a:spcAft>
              <a:defRPr sz="1000" b="0" kern="1200">
                <a:solidFill>
                  <a:schemeClr val="accent2"/>
                </a:solidFill>
                <a:latin typeface="DWS Sans Light" panose="02010404010101010104" pitchFamily="50" charset="0"/>
                <a:ea typeface="ＭＳ Ｐゴシック" pitchFamily="-109" charset="-128"/>
                <a:cs typeface="DWS Sans Light" panose="02010404010101010104" pitchFamily="50" charset="0"/>
              </a:defRPr>
            </a:lvl1pPr>
            <a:lvl2pPr algn="l" rtl="0" eaLnBrk="1" fontAlgn="base" hangingPunct="1">
              <a:lnSpc>
                <a:spcPct val="106000"/>
              </a:lnSpc>
              <a:spcBef>
                <a:spcPts val="200"/>
              </a:spcBef>
              <a:spcAft>
                <a:spcPts val="0"/>
              </a:spcAft>
              <a:defRPr sz="1000" kern="1200">
                <a:solidFill>
                  <a:schemeClr val="bg2"/>
                </a:solidFill>
                <a:latin typeface="+mn-lt"/>
                <a:ea typeface="ＭＳ Ｐゴシック" pitchFamily="-109" charset="-128"/>
              </a:defRPr>
            </a:lvl2pPr>
            <a:lvl3pPr marL="9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3pPr>
            <a:lvl4pPr marL="18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4pPr>
            <a:lvl5pPr marL="0" indent="0" algn="l" rtl="0" eaLnBrk="1" fontAlgn="base" hangingPunct="1">
              <a:lnSpc>
                <a:spcPct val="106000"/>
              </a:lnSpc>
              <a:spcBef>
                <a:spcPts val="1200"/>
              </a:spcBef>
              <a:spcAft>
                <a:spcPts val="0"/>
              </a:spcAft>
              <a:buFont typeface="Arial" panose="020B0604020202020204" pitchFamily="34" charset="0"/>
              <a:buNone/>
              <a:defRPr sz="12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pPr defTabSz="914400"/>
            <a:r>
              <a:rPr lang="en-US" dirty="0"/>
              <a:t>Economia: </a:t>
            </a:r>
            <a:r>
              <a:rPr lang="it-IT" dirty="0"/>
              <a:t>Segnali contrastanti dagli Stati Uniti, clima più positivo in Germania</a:t>
            </a:r>
          </a:p>
          <a:p>
            <a:pPr defTabSz="914400"/>
            <a:endParaRPr lang="de-DE" dirty="0"/>
          </a:p>
        </p:txBody>
      </p:sp>
      <p:sp>
        <p:nvSpPr>
          <p:cNvPr id="48" name="Textplatzhalter 9"/>
          <p:cNvSpPr txBox="1">
            <a:spLocks/>
          </p:cNvSpPr>
          <p:nvPr/>
        </p:nvSpPr>
        <p:spPr bwMode="gray">
          <a:xfrm>
            <a:off x="1433109" y="6315070"/>
            <a:ext cx="5544000" cy="866456"/>
          </a:xfrm>
          <a:prstGeom prst="rect">
            <a:avLst/>
          </a:prstGeom>
        </p:spPr>
        <p:txBody>
          <a:bodyPr vert="horz" wrap="square" lIns="0" tIns="0" rIns="0" bIns="0" rtlCol="0">
            <a:spAutoFit/>
          </a:bodyPr>
          <a:lstStyle>
            <a:lvl1pPr algn="l" rtl="0" eaLnBrk="1" fontAlgn="base" hangingPunct="1">
              <a:lnSpc>
                <a:spcPct val="106000"/>
              </a:lnSpc>
              <a:spcBef>
                <a:spcPts val="800"/>
              </a:spcBef>
              <a:spcAft>
                <a:spcPts val="0"/>
              </a:spcAft>
              <a:defRPr sz="1000" b="1" kern="1200">
                <a:solidFill>
                  <a:schemeClr val="accent2"/>
                </a:solidFill>
                <a:latin typeface="+mn-lt"/>
                <a:ea typeface="ＭＳ Ｐゴシック" pitchFamily="-109" charset="-128"/>
                <a:cs typeface="ＭＳ Ｐゴシック" pitchFamily="-109" charset="-128"/>
              </a:defRPr>
            </a:lvl1pPr>
            <a:lvl2pPr marL="126000" marR="0" indent="-126000" algn="l" defTabSz="914400" rtl="0" eaLnBrk="1" fontAlgn="base" latinLnBrk="0" hangingPunct="1">
              <a:lnSpc>
                <a:spcPct val="100000"/>
              </a:lnSpc>
              <a:spcBef>
                <a:spcPts val="600"/>
              </a:spcBef>
              <a:spcAft>
                <a:spcPts val="0"/>
              </a:spcAft>
              <a:buClrTx/>
              <a:buSzTx/>
              <a:buFont typeface="Arial" panose="020B0604020202020204" pitchFamily="34" charset="0"/>
              <a:buChar char="_"/>
              <a:tabLst/>
              <a:defRPr sz="900" kern="1200">
                <a:solidFill>
                  <a:schemeClr val="bg2"/>
                </a:solidFill>
                <a:latin typeface="DWS Sans Light" panose="02010404010101010104" pitchFamily="50" charset="0"/>
                <a:ea typeface="ＭＳ Ｐゴシック" pitchFamily="-109" charset="-128"/>
                <a:cs typeface="DWS Sans Light" panose="02010404010101010104" pitchFamily="50" charset="0"/>
              </a:defRPr>
            </a:lvl2pPr>
            <a:lvl3pPr marL="9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3pPr>
            <a:lvl4pPr marL="18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4pPr>
            <a:lvl5pPr marL="0" indent="0" algn="l" rtl="0" eaLnBrk="1" fontAlgn="base" hangingPunct="1">
              <a:lnSpc>
                <a:spcPct val="106000"/>
              </a:lnSpc>
              <a:spcBef>
                <a:spcPts val="1200"/>
              </a:spcBef>
              <a:spcAft>
                <a:spcPts val="0"/>
              </a:spcAft>
              <a:buFont typeface="Arial" panose="020B0604020202020204" pitchFamily="34" charset="0"/>
              <a:buNone/>
              <a:defRPr sz="12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pPr>
              <a:spcBef>
                <a:spcPts val="0"/>
              </a:spcBef>
            </a:pPr>
            <a:r>
              <a:rPr lang="it-IT" sz="900" b="0" dirty="0">
                <a:latin typeface="DWS Sans Light" panose="02010404010101010104" pitchFamily="50" charset="0"/>
                <a:cs typeface="DWS Sans Light" panose="02010404010101010104" pitchFamily="50" charset="0"/>
              </a:rPr>
              <a:t>- </a:t>
            </a:r>
            <a:r>
              <a:rPr lang="it-IT" sz="900" b="0" dirty="0">
                <a:solidFill>
                  <a:schemeClr val="bg2"/>
                </a:solidFill>
                <a:latin typeface="DWS Sans Light" panose="02010404010101010104" pitchFamily="50" charset="0"/>
                <a:cs typeface="DWS Sans Light" panose="02010404010101010104" pitchFamily="50" charset="0"/>
              </a:rPr>
              <a:t>L’ultima rilevazione sulla fiducia dei consumatori ha portato una sorpresa sgradita: il </a:t>
            </a:r>
            <a:r>
              <a:rPr lang="it-IT" sz="900" b="0" i="1" dirty="0">
                <a:solidFill>
                  <a:schemeClr val="bg2"/>
                </a:solidFill>
                <a:latin typeface="DWS Sans Light" panose="02010404010101010104" pitchFamily="50" charset="0"/>
                <a:cs typeface="DWS Sans Light" panose="02010404010101010104" pitchFamily="50" charset="0"/>
              </a:rPr>
              <a:t>sentiment </a:t>
            </a:r>
            <a:r>
              <a:rPr lang="it-IT" sz="900" b="0" dirty="0">
                <a:solidFill>
                  <a:schemeClr val="bg2"/>
                </a:solidFill>
                <a:latin typeface="DWS Sans Light" panose="02010404010101010104" pitchFamily="50" charset="0"/>
                <a:cs typeface="DWS Sans Light" panose="02010404010101010104" pitchFamily="50" charset="0"/>
              </a:rPr>
              <a:t>dei consumatori statunitensi a gennaio è sceso al livello più basso da oltre un decennio. Al contrario, l’indice di </a:t>
            </a:r>
            <a:r>
              <a:rPr lang="it-IT" sz="900" b="0" i="1" dirty="0">
                <a:solidFill>
                  <a:schemeClr val="bg2"/>
                </a:solidFill>
                <a:latin typeface="DWS Sans Light" panose="02010404010101010104" pitchFamily="50" charset="0"/>
                <a:cs typeface="DWS Sans Light" panose="02010404010101010104" pitchFamily="50" charset="0"/>
              </a:rPr>
              <a:t>sentiment</a:t>
            </a:r>
            <a:r>
              <a:rPr lang="it-IT" sz="900" b="0" dirty="0">
                <a:solidFill>
                  <a:schemeClr val="bg2"/>
                </a:solidFill>
                <a:latin typeface="DWS Sans Light" panose="02010404010101010104" pitchFamily="50" charset="0"/>
                <a:cs typeface="DWS Sans Light" panose="02010404010101010104" pitchFamily="50" charset="0"/>
              </a:rPr>
              <a:t> dell’Università del Michigan ha restituito un quadro più positivo, salendo al livello più alto degli ultimi cinque mesi.</a:t>
            </a:r>
          </a:p>
          <a:p>
            <a:pPr>
              <a:spcBef>
                <a:spcPts val="0"/>
              </a:spcBef>
            </a:pPr>
            <a:r>
              <a:rPr lang="it-IT" sz="900" b="0" dirty="0">
                <a:solidFill>
                  <a:schemeClr val="bg2"/>
                </a:solidFill>
                <a:latin typeface="DWS Sans Light" panose="02010404010101010104" pitchFamily="50" charset="0"/>
                <a:cs typeface="DWS Sans Light" panose="02010404010101010104" pitchFamily="50" charset="0"/>
              </a:rPr>
              <a:t>- La Germania, invece ha registrato un miglioramento del sentiment delle imprese. L’ultimo indice </a:t>
            </a:r>
            <a:r>
              <a:rPr lang="it-IT" sz="900" b="0" dirty="0" err="1">
                <a:solidFill>
                  <a:schemeClr val="bg2"/>
                </a:solidFill>
                <a:latin typeface="DWS Sans Light" panose="02010404010101010104" pitchFamily="50" charset="0"/>
                <a:cs typeface="DWS Sans Light" panose="02010404010101010104" pitchFamily="50" charset="0"/>
              </a:rPr>
              <a:t>Ifo</a:t>
            </a:r>
            <a:r>
              <a:rPr lang="it-IT" sz="900" b="0" dirty="0">
                <a:solidFill>
                  <a:schemeClr val="bg2"/>
                </a:solidFill>
                <a:latin typeface="DWS Sans Light" panose="02010404010101010104" pitchFamily="50" charset="0"/>
                <a:cs typeface="DWS Sans Light" panose="02010404010101010104" pitchFamily="50" charset="0"/>
              </a:rPr>
              <a:t> </a:t>
            </a:r>
            <a:r>
              <a:rPr lang="en-US" sz="900" b="0" dirty="0">
                <a:solidFill>
                  <a:schemeClr val="bg2"/>
                </a:solidFill>
                <a:latin typeface="DWS Sans Light" panose="02010404010101010104" pitchFamily="50" charset="0"/>
                <a:cs typeface="DWS Sans Light" panose="02010404010101010104" pitchFamily="50" charset="0"/>
              </a:rPr>
              <a:t>Business Climate Index </a:t>
            </a:r>
            <a:r>
              <a:rPr lang="it-IT" sz="900" b="0" dirty="0">
                <a:solidFill>
                  <a:schemeClr val="bg2"/>
                </a:solidFill>
                <a:latin typeface="DWS Sans Light" panose="02010404010101010104" pitchFamily="50" charset="0"/>
                <a:cs typeface="DWS Sans Light" panose="02010404010101010104" pitchFamily="50" charset="0"/>
              </a:rPr>
              <a:t>ha segnalato un notevole aumento dell’ottimismo nel settore industriale.</a:t>
            </a:r>
          </a:p>
        </p:txBody>
      </p:sp>
      <p:sp>
        <p:nvSpPr>
          <p:cNvPr id="71" name="Textplatzhalter 4"/>
          <p:cNvSpPr txBox="1">
            <a:spLocks/>
          </p:cNvSpPr>
          <p:nvPr/>
        </p:nvSpPr>
        <p:spPr bwMode="gray">
          <a:xfrm>
            <a:off x="1457327" y="8319534"/>
            <a:ext cx="5901448" cy="171122"/>
          </a:xfrm>
          <a:prstGeom prst="rect">
            <a:avLst/>
          </a:prstGeom>
        </p:spPr>
        <p:txBody>
          <a:bodyPr vert="horz" lIns="0" tIns="0" rIns="0" bIns="0" rtlCol="0">
            <a:noAutofit/>
          </a:bodyPr>
          <a:lstStyle>
            <a:lvl1pPr algn="l" rtl="0" eaLnBrk="1" fontAlgn="base" hangingPunct="1">
              <a:lnSpc>
                <a:spcPct val="106000"/>
              </a:lnSpc>
              <a:spcBef>
                <a:spcPts val="800"/>
              </a:spcBef>
              <a:spcAft>
                <a:spcPts val="0"/>
              </a:spcAft>
              <a:defRPr sz="1000" b="0" kern="1200">
                <a:solidFill>
                  <a:schemeClr val="accent2"/>
                </a:solidFill>
                <a:latin typeface="DWS Sans Light" panose="02010404010101010104" pitchFamily="50" charset="0"/>
                <a:ea typeface="ＭＳ Ｐゴシック" pitchFamily="-109" charset="-128"/>
                <a:cs typeface="DWS Sans Light" panose="02010404010101010104" pitchFamily="50" charset="0"/>
              </a:defRPr>
            </a:lvl1pPr>
            <a:lvl2pPr algn="l" rtl="0" eaLnBrk="1" fontAlgn="base" hangingPunct="1">
              <a:lnSpc>
                <a:spcPct val="106000"/>
              </a:lnSpc>
              <a:spcBef>
                <a:spcPts val="200"/>
              </a:spcBef>
              <a:spcAft>
                <a:spcPts val="0"/>
              </a:spcAft>
              <a:defRPr sz="1000" kern="1200">
                <a:solidFill>
                  <a:schemeClr val="bg2"/>
                </a:solidFill>
                <a:latin typeface="+mn-lt"/>
                <a:ea typeface="ＭＳ Ｐゴシック" pitchFamily="-109" charset="-128"/>
              </a:defRPr>
            </a:lvl2pPr>
            <a:lvl3pPr marL="9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3pPr>
            <a:lvl4pPr marL="18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4pPr>
            <a:lvl5pPr marL="0" indent="0" algn="l" rtl="0" eaLnBrk="1" fontAlgn="base" hangingPunct="1">
              <a:lnSpc>
                <a:spcPct val="106000"/>
              </a:lnSpc>
              <a:spcBef>
                <a:spcPts val="1200"/>
              </a:spcBef>
              <a:spcAft>
                <a:spcPts val="0"/>
              </a:spcAft>
              <a:buFont typeface="Arial" panose="020B0604020202020204" pitchFamily="34" charset="0"/>
              <a:buNone/>
              <a:defRPr sz="12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r>
              <a:rPr lang="it-IT" dirty="0"/>
              <a:t>Banche centrali</a:t>
            </a:r>
            <a:r>
              <a:rPr lang="en-US" dirty="0"/>
              <a:t>: </a:t>
            </a:r>
            <a:r>
              <a:rPr lang="it-IT" dirty="0"/>
              <a:t>La Fed sospende ulteriori tagli dei tassi per il momento</a:t>
            </a:r>
          </a:p>
          <a:p>
            <a:endParaRPr lang="de-DE" dirty="0"/>
          </a:p>
        </p:txBody>
      </p:sp>
      <p:sp>
        <p:nvSpPr>
          <p:cNvPr id="69" name="Textplatzhalter 68"/>
          <p:cNvSpPr txBox="1">
            <a:spLocks/>
          </p:cNvSpPr>
          <p:nvPr/>
        </p:nvSpPr>
        <p:spPr bwMode="gray">
          <a:xfrm>
            <a:off x="619030" y="9591491"/>
            <a:ext cx="6340064" cy="190501"/>
          </a:xfrm>
          <a:prstGeom prst="rect">
            <a:avLst/>
          </a:prstGeom>
        </p:spPr>
        <p:txBody>
          <a:bodyPr vert="horz" lIns="0" tIns="0" rIns="0" bIns="0" rtlCol="0">
            <a:noAutofit/>
          </a:bodyPr>
          <a:lstStyle>
            <a:lvl1pPr algn="l" rtl="0" eaLnBrk="1" fontAlgn="base" hangingPunct="1">
              <a:lnSpc>
                <a:spcPct val="106000"/>
              </a:lnSpc>
              <a:spcBef>
                <a:spcPts val="800"/>
              </a:spcBef>
              <a:spcAft>
                <a:spcPts val="0"/>
              </a:spcAft>
              <a:defRPr sz="1000" b="1" kern="1200">
                <a:solidFill>
                  <a:schemeClr val="accent2"/>
                </a:solidFill>
                <a:latin typeface="+mn-lt"/>
                <a:ea typeface="ＭＳ Ｐゴシック" pitchFamily="-109" charset="-128"/>
                <a:cs typeface="ＭＳ Ｐゴシック" pitchFamily="-109" charset="-128"/>
              </a:defRPr>
            </a:lvl1pPr>
            <a:lvl2pPr algn="l" rtl="0" eaLnBrk="1" fontAlgn="base" hangingPunct="1">
              <a:lnSpc>
                <a:spcPct val="106000"/>
              </a:lnSpc>
              <a:spcBef>
                <a:spcPts val="200"/>
              </a:spcBef>
              <a:spcAft>
                <a:spcPts val="0"/>
              </a:spcAft>
              <a:defRPr sz="1000" kern="1200">
                <a:solidFill>
                  <a:schemeClr val="bg2"/>
                </a:solidFill>
                <a:latin typeface="+mn-lt"/>
                <a:ea typeface="ＭＳ Ｐゴシック" pitchFamily="-109" charset="-128"/>
              </a:defRPr>
            </a:lvl2pPr>
            <a:lvl3pPr marL="9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3pPr>
            <a:lvl4pPr marL="18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4pPr>
            <a:lvl5pPr marL="0" indent="0" algn="l" rtl="0" eaLnBrk="1" fontAlgn="base" hangingPunct="1">
              <a:lnSpc>
                <a:spcPct val="106000"/>
              </a:lnSpc>
              <a:spcBef>
                <a:spcPts val="1200"/>
              </a:spcBef>
              <a:spcAft>
                <a:spcPts val="0"/>
              </a:spcAft>
              <a:buFont typeface="Arial" panose="020B0604020202020204" pitchFamily="34" charset="0"/>
              <a:buNone/>
              <a:defRPr sz="12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pPr defTabSz="914400"/>
            <a:endParaRPr lang="de-DE" dirty="0"/>
          </a:p>
        </p:txBody>
      </p:sp>
      <p:sp>
        <p:nvSpPr>
          <p:cNvPr id="74" name="Rechteck 73"/>
          <p:cNvSpPr/>
          <p:nvPr/>
        </p:nvSpPr>
        <p:spPr>
          <a:xfrm>
            <a:off x="625510" y="10007378"/>
            <a:ext cx="6322978" cy="200055"/>
          </a:xfrm>
          <a:prstGeom prst="rect">
            <a:avLst/>
          </a:prstGeom>
        </p:spPr>
        <p:txBody>
          <a:bodyPr wrap="square" lIns="0" rIns="0">
            <a:spAutoFit/>
          </a:bodyPr>
          <a:lstStyle/>
          <a:p>
            <a:r>
              <a:rPr lang="en-US" sz="700" dirty="0">
                <a:solidFill>
                  <a:schemeClr val="accent3"/>
                </a:solidFill>
                <a:latin typeface="DWS Sans Light" panose="02010404010101010104" pitchFamily="50" charset="0"/>
                <a:cs typeface="DWS Sans Light" panose="02010404010101010104" pitchFamily="50" charset="0"/>
              </a:rPr>
              <a:t> </a:t>
            </a:r>
            <a:endParaRPr lang="en-US" sz="700" dirty="0">
              <a:solidFill>
                <a:srgbClr val="FF0000"/>
              </a:solidFill>
              <a:latin typeface="DWS Sans Light" panose="02010404010101010104" pitchFamily="50" charset="0"/>
              <a:cs typeface="DWS Sans Light" panose="02010404010101010104" pitchFamily="50" charset="0"/>
            </a:endParaRPr>
          </a:p>
        </p:txBody>
      </p:sp>
      <p:sp>
        <p:nvSpPr>
          <p:cNvPr id="103" name="Textfeld 102"/>
          <p:cNvSpPr txBox="1"/>
          <p:nvPr/>
        </p:nvSpPr>
        <p:spPr bwMode="ltGray">
          <a:xfrm>
            <a:off x="583027" y="5834018"/>
            <a:ext cx="6084000" cy="205697"/>
          </a:xfrm>
          <a:prstGeom prst="rect">
            <a:avLst/>
          </a:prstGeom>
          <a:noFill/>
          <a:ln w="6350">
            <a:noFill/>
            <a:miter lim="800000"/>
            <a:headEnd/>
            <a:tailEnd/>
          </a:ln>
        </p:spPr>
        <p:txBody>
          <a:bodyPr wrap="square" lIns="0" tIns="0" rIns="0" bIns="0" rtlCol="0" anchor="t" anchorCtr="0">
            <a:spAutoFit/>
          </a:bodyPr>
          <a:lstStyle/>
          <a:p>
            <a:pPr eaLnBrk="0" hangingPunct="0">
              <a:lnSpc>
                <a:spcPct val="106000"/>
              </a:lnSpc>
              <a:spcBef>
                <a:spcPts val="200"/>
              </a:spcBef>
            </a:pPr>
            <a:r>
              <a:rPr lang="en-GB" sz="1400" dirty="0">
                <a:solidFill>
                  <a:schemeClr val="bg2"/>
                </a:solidFill>
                <a:latin typeface="DWS Sans Light" panose="02010404010101010104" pitchFamily="50" charset="0"/>
                <a:cs typeface="DWS Sans Light" panose="02010404010101010104" pitchFamily="50" charset="0"/>
              </a:rPr>
              <a:t>Temi </a:t>
            </a:r>
            <a:r>
              <a:rPr lang="en-GB" sz="1400" dirty="0" err="1">
                <a:solidFill>
                  <a:schemeClr val="bg2"/>
                </a:solidFill>
                <a:latin typeface="DWS Sans Light" panose="02010404010101010104" pitchFamily="50" charset="0"/>
                <a:cs typeface="DWS Sans Light" panose="02010404010101010104" pitchFamily="50" charset="0"/>
              </a:rPr>
              <a:t>che</a:t>
            </a:r>
            <a:r>
              <a:rPr lang="en-GB" sz="1400" dirty="0">
                <a:solidFill>
                  <a:schemeClr val="bg2"/>
                </a:solidFill>
                <a:latin typeface="DWS Sans Light" panose="02010404010101010104" pitchFamily="50" charset="0"/>
                <a:cs typeface="DWS Sans Light" panose="02010404010101010104" pitchFamily="50" charset="0"/>
              </a:rPr>
              <a:t> </a:t>
            </a:r>
            <a:r>
              <a:rPr lang="en-GB" sz="1400" dirty="0" err="1">
                <a:solidFill>
                  <a:schemeClr val="bg2"/>
                </a:solidFill>
                <a:latin typeface="DWS Sans Light" panose="02010404010101010104" pitchFamily="50" charset="0"/>
                <a:cs typeface="DWS Sans Light" panose="02010404010101010104" pitchFamily="50" charset="0"/>
              </a:rPr>
              <a:t>guidano</a:t>
            </a:r>
            <a:r>
              <a:rPr lang="en-GB" sz="1400" dirty="0">
                <a:solidFill>
                  <a:schemeClr val="bg2"/>
                </a:solidFill>
                <a:latin typeface="DWS Sans Light" panose="02010404010101010104" pitchFamily="50" charset="0"/>
                <a:cs typeface="DWS Sans Light" panose="02010404010101010104" pitchFamily="50" charset="0"/>
              </a:rPr>
              <a:t> </a:t>
            </a:r>
            <a:r>
              <a:rPr lang="en-GB" sz="1400" dirty="0" err="1">
                <a:solidFill>
                  <a:schemeClr val="bg2"/>
                </a:solidFill>
                <a:latin typeface="DWS Sans Light" panose="02010404010101010104" pitchFamily="50" charset="0"/>
                <a:cs typeface="DWS Sans Light" panose="02010404010101010104" pitchFamily="50" charset="0"/>
              </a:rPr>
              <a:t>i</a:t>
            </a:r>
            <a:r>
              <a:rPr lang="en-GB" sz="1400" dirty="0">
                <a:solidFill>
                  <a:schemeClr val="bg2"/>
                </a:solidFill>
                <a:latin typeface="DWS Sans Light" panose="02010404010101010104" pitchFamily="50" charset="0"/>
                <a:cs typeface="DWS Sans Light" panose="02010404010101010104" pitchFamily="50" charset="0"/>
              </a:rPr>
              <a:t> </a:t>
            </a:r>
            <a:r>
              <a:rPr lang="en-GB" sz="1400" dirty="0" err="1">
                <a:solidFill>
                  <a:schemeClr val="bg2"/>
                </a:solidFill>
                <a:latin typeface="DWS Sans Light" panose="02010404010101010104" pitchFamily="50" charset="0"/>
                <a:cs typeface="DWS Sans Light" panose="02010404010101010104" pitchFamily="50" charset="0"/>
              </a:rPr>
              <a:t>mercati</a:t>
            </a:r>
            <a:r>
              <a:rPr lang="en-GB" sz="1400" dirty="0">
                <a:solidFill>
                  <a:schemeClr val="bg2"/>
                </a:solidFill>
                <a:latin typeface="DWS Sans Light" panose="02010404010101010104" pitchFamily="50" charset="0"/>
                <a:cs typeface="DWS Sans Light" panose="02010404010101010104" pitchFamily="50" charset="0"/>
              </a:rPr>
              <a:t> </a:t>
            </a:r>
          </a:p>
        </p:txBody>
      </p:sp>
      <p:sp>
        <p:nvSpPr>
          <p:cNvPr id="5" name="Textplatzhalter 4"/>
          <p:cNvSpPr>
            <a:spLocks noGrp="1"/>
          </p:cNvSpPr>
          <p:nvPr>
            <p:ph type="body" sz="quarter" idx="30"/>
          </p:nvPr>
        </p:nvSpPr>
        <p:spPr>
          <a:xfrm>
            <a:off x="2010875" y="1086079"/>
            <a:ext cx="828753" cy="138499"/>
          </a:xfrm>
        </p:spPr>
        <p:txBody>
          <a:bodyPr/>
          <a:lstStyle/>
          <a:p>
            <a:r>
              <a:rPr lang="de-DE" dirty="0">
                <a:latin typeface="DWS Sans Light" panose="02010404010101010104" pitchFamily="50" charset="0"/>
                <a:cs typeface="DWS Sans Light" panose="02010404010101010104" pitchFamily="50" charset="0"/>
              </a:rPr>
              <a:t>Asset </a:t>
            </a:r>
            <a:r>
              <a:rPr lang="de-DE" dirty="0" err="1">
                <a:latin typeface="DWS Sans Light" panose="02010404010101010104" pitchFamily="50" charset="0"/>
                <a:cs typeface="DWS Sans Light" panose="02010404010101010104" pitchFamily="50" charset="0"/>
              </a:rPr>
              <a:t>Alternativi</a:t>
            </a:r>
            <a:endParaRPr lang="de-DE" dirty="0">
              <a:latin typeface="DWS Sans Light" panose="02010404010101010104" pitchFamily="50" charset="0"/>
              <a:cs typeface="DWS Sans Light" panose="02010404010101010104" pitchFamily="50" charset="0"/>
            </a:endParaRPr>
          </a:p>
        </p:txBody>
      </p:sp>
      <p:sp>
        <p:nvSpPr>
          <p:cNvPr id="106" name="Freeform 94">
            <a:extLst>
              <a:ext uri="{FF2B5EF4-FFF2-40B4-BE49-F238E27FC236}">
                <a16:creationId xmlns:a16="http://schemas.microsoft.com/office/drawing/2014/main" id="{4628F2F7-F8BD-4543-A433-093DC0398513}"/>
              </a:ext>
            </a:extLst>
          </p:cNvPr>
          <p:cNvSpPr>
            <a:spLocks noChangeAspect="1" noEditPoints="1"/>
          </p:cNvSpPr>
          <p:nvPr/>
        </p:nvSpPr>
        <p:spPr bwMode="auto">
          <a:xfrm>
            <a:off x="583027" y="7339916"/>
            <a:ext cx="736878" cy="796626"/>
          </a:xfrm>
          <a:custGeom>
            <a:avLst/>
            <a:gdLst>
              <a:gd name="T0" fmla="*/ 6124 w 7992"/>
              <a:gd name="T1" fmla="*/ 3814 h 8640"/>
              <a:gd name="T2" fmla="*/ 6171 w 7992"/>
              <a:gd name="T3" fmla="*/ 4668 h 8640"/>
              <a:gd name="T4" fmla="*/ 4458 w 7992"/>
              <a:gd name="T5" fmla="*/ 4999 h 8640"/>
              <a:gd name="T6" fmla="*/ 3347 w 7992"/>
              <a:gd name="T7" fmla="*/ 4555 h 8640"/>
              <a:gd name="T8" fmla="*/ 3842 w 7992"/>
              <a:gd name="T9" fmla="*/ 3633 h 8640"/>
              <a:gd name="T10" fmla="*/ 5312 w 7992"/>
              <a:gd name="T11" fmla="*/ 4484 h 8640"/>
              <a:gd name="T12" fmla="*/ 6059 w 7992"/>
              <a:gd name="T13" fmla="*/ 4074 h 8640"/>
              <a:gd name="T14" fmla="*/ 5370 w 7992"/>
              <a:gd name="T15" fmla="*/ 3675 h 8640"/>
              <a:gd name="T16" fmla="*/ 3911 w 7992"/>
              <a:gd name="T17" fmla="*/ 3761 h 8640"/>
              <a:gd name="T18" fmla="*/ 3578 w 7992"/>
              <a:gd name="T19" fmla="*/ 4173 h 8640"/>
              <a:gd name="T20" fmla="*/ 4693 w 7992"/>
              <a:gd name="T21" fmla="*/ 4520 h 8640"/>
              <a:gd name="T22" fmla="*/ 86 w 7992"/>
              <a:gd name="T23" fmla="*/ 6804 h 8640"/>
              <a:gd name="T24" fmla="*/ 288 w 7992"/>
              <a:gd name="T25" fmla="*/ 7674 h 8640"/>
              <a:gd name="T26" fmla="*/ 533 w 7992"/>
              <a:gd name="T27" fmla="*/ 7296 h 8640"/>
              <a:gd name="T28" fmla="*/ 221 w 7992"/>
              <a:gd name="T29" fmla="*/ 6911 h 8640"/>
              <a:gd name="T30" fmla="*/ 1554 w 7992"/>
              <a:gd name="T31" fmla="*/ 6233 h 8640"/>
              <a:gd name="T32" fmla="*/ 2762 w 7992"/>
              <a:gd name="T33" fmla="*/ 5580 h 8640"/>
              <a:gd name="T34" fmla="*/ 3352 w 7992"/>
              <a:gd name="T35" fmla="*/ 6227 h 8640"/>
              <a:gd name="T36" fmla="*/ 2332 w 7992"/>
              <a:gd name="T37" fmla="*/ 7705 h 8640"/>
              <a:gd name="T38" fmla="*/ 1197 w 7992"/>
              <a:gd name="T39" fmla="*/ 8213 h 8640"/>
              <a:gd name="T40" fmla="*/ 784 w 7992"/>
              <a:gd name="T41" fmla="*/ 7313 h 8640"/>
              <a:gd name="T42" fmla="*/ 2435 w 7992"/>
              <a:gd name="T43" fmla="*/ 6876 h 8640"/>
              <a:gd name="T44" fmla="*/ 2870 w 7992"/>
              <a:gd name="T45" fmla="*/ 5875 h 8640"/>
              <a:gd name="T46" fmla="*/ 2227 w 7992"/>
              <a:gd name="T47" fmla="*/ 5914 h 8640"/>
              <a:gd name="T48" fmla="*/ 1086 w 7992"/>
              <a:gd name="T49" fmla="*/ 7035 h 8640"/>
              <a:gd name="T50" fmla="*/ 1004 w 7992"/>
              <a:gd name="T51" fmla="*/ 7723 h 8640"/>
              <a:gd name="T52" fmla="*/ 1971 w 7992"/>
              <a:gd name="T53" fmla="*/ 7331 h 8640"/>
              <a:gd name="T54" fmla="*/ 4430 w 7992"/>
              <a:gd name="T55" fmla="*/ 8201 h 8640"/>
              <a:gd name="T56" fmla="*/ 2188 w 7992"/>
              <a:gd name="T57" fmla="*/ 7929 h 8640"/>
              <a:gd name="T58" fmla="*/ 4200 w 7992"/>
              <a:gd name="T59" fmla="*/ 7495 h 8640"/>
              <a:gd name="T60" fmla="*/ 5945 w 7992"/>
              <a:gd name="T61" fmla="*/ 5449 h 8640"/>
              <a:gd name="T62" fmla="*/ 5211 w 7992"/>
              <a:gd name="T63" fmla="*/ 5543 h 8640"/>
              <a:gd name="T64" fmla="*/ 3039 w 7992"/>
              <a:gd name="T65" fmla="*/ 5591 h 8640"/>
              <a:gd name="T66" fmla="*/ 2378 w 7992"/>
              <a:gd name="T67" fmla="*/ 5443 h 8640"/>
              <a:gd name="T68" fmla="*/ 2941 w 7992"/>
              <a:gd name="T69" fmla="*/ 4350 h 8640"/>
              <a:gd name="T70" fmla="*/ 2656 w 7992"/>
              <a:gd name="T71" fmla="*/ 4771 h 8640"/>
              <a:gd name="T72" fmla="*/ 3072 w 7992"/>
              <a:gd name="T73" fmla="*/ 5257 h 8640"/>
              <a:gd name="T74" fmla="*/ 4854 w 7992"/>
              <a:gd name="T75" fmla="*/ 5363 h 8640"/>
              <a:gd name="T76" fmla="*/ 6133 w 7992"/>
              <a:gd name="T77" fmla="*/ 5060 h 8640"/>
              <a:gd name="T78" fmla="*/ 7100 w 7992"/>
              <a:gd name="T79" fmla="*/ 5724 h 8640"/>
              <a:gd name="T80" fmla="*/ 6753 w 7992"/>
              <a:gd name="T81" fmla="*/ 5642 h 8640"/>
              <a:gd name="T82" fmla="*/ 4621 w 7992"/>
              <a:gd name="T83" fmla="*/ 7182 h 8640"/>
              <a:gd name="T84" fmla="*/ 3338 w 7992"/>
              <a:gd name="T85" fmla="*/ 6573 h 8640"/>
              <a:gd name="T86" fmla="*/ 4750 w 7992"/>
              <a:gd name="T87" fmla="*/ 6497 h 8640"/>
              <a:gd name="T88" fmla="*/ 7661 w 7992"/>
              <a:gd name="T89" fmla="*/ 7083 h 8640"/>
              <a:gd name="T90" fmla="*/ 7926 w 7992"/>
              <a:gd name="T91" fmla="*/ 8134 h 8640"/>
              <a:gd name="T92" fmla="*/ 6828 w 7992"/>
              <a:gd name="T93" fmla="*/ 8502 h 8640"/>
              <a:gd name="T94" fmla="*/ 5172 w 7992"/>
              <a:gd name="T95" fmla="*/ 7102 h 8640"/>
              <a:gd name="T96" fmla="*/ 4833 w 7992"/>
              <a:gd name="T97" fmla="*/ 6097 h 8640"/>
              <a:gd name="T98" fmla="*/ 5970 w 7992"/>
              <a:gd name="T99" fmla="*/ 5655 h 8640"/>
              <a:gd name="T100" fmla="*/ 6557 w 7992"/>
              <a:gd name="T101" fmla="*/ 7647 h 8640"/>
              <a:gd name="T102" fmla="*/ 7662 w 7992"/>
              <a:gd name="T103" fmla="*/ 8034 h 8640"/>
              <a:gd name="T104" fmla="*/ 7576 w 7992"/>
              <a:gd name="T105" fmla="*/ 7281 h 8640"/>
              <a:gd name="T106" fmla="*/ 6206 w 7992"/>
              <a:gd name="T107" fmla="*/ 5964 h 8640"/>
              <a:gd name="T108" fmla="*/ 5395 w 7992"/>
              <a:gd name="T109" fmla="*/ 5875 h 8640"/>
              <a:gd name="T110" fmla="*/ 5793 w 7992"/>
              <a:gd name="T111" fmla="*/ 6915 h 8640"/>
              <a:gd name="T112" fmla="*/ 3186 w 7992"/>
              <a:gd name="T113" fmla="*/ 3926 h 8640"/>
              <a:gd name="T114" fmla="*/ 4077 w 7992"/>
              <a:gd name="T115" fmla="*/ 3380 h 8640"/>
              <a:gd name="T116" fmla="*/ 6330 w 7992"/>
              <a:gd name="T117" fmla="*/ 3767 h 8640"/>
              <a:gd name="T118" fmla="*/ 6314 w 7992"/>
              <a:gd name="T119" fmla="*/ 4785 h 8640"/>
              <a:gd name="T120" fmla="*/ 7138 w 7992"/>
              <a:gd name="T121" fmla="*/ 5391 h 8640"/>
              <a:gd name="T122" fmla="*/ 1524 w 7992"/>
              <a:gd name="T123" fmla="*/ 6017 h 8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92" h="8640">
                <a:moveTo>
                  <a:pt x="4803" y="3484"/>
                </a:moveTo>
                <a:lnTo>
                  <a:pt x="4803" y="3484"/>
                </a:lnTo>
                <a:lnTo>
                  <a:pt x="4864" y="3486"/>
                </a:lnTo>
                <a:lnTo>
                  <a:pt x="4924" y="3487"/>
                </a:lnTo>
                <a:lnTo>
                  <a:pt x="4985" y="3490"/>
                </a:lnTo>
                <a:lnTo>
                  <a:pt x="5046" y="3493"/>
                </a:lnTo>
                <a:lnTo>
                  <a:pt x="5108" y="3499"/>
                </a:lnTo>
                <a:lnTo>
                  <a:pt x="5168" y="3504"/>
                </a:lnTo>
                <a:lnTo>
                  <a:pt x="5229" y="3511"/>
                </a:lnTo>
                <a:lnTo>
                  <a:pt x="5291" y="3520"/>
                </a:lnTo>
                <a:lnTo>
                  <a:pt x="5351" y="3530"/>
                </a:lnTo>
                <a:lnTo>
                  <a:pt x="5412" y="3539"/>
                </a:lnTo>
                <a:lnTo>
                  <a:pt x="5471" y="3552"/>
                </a:lnTo>
                <a:lnTo>
                  <a:pt x="5532" y="3565"/>
                </a:lnTo>
                <a:lnTo>
                  <a:pt x="5591" y="3580"/>
                </a:lnTo>
                <a:lnTo>
                  <a:pt x="5649" y="3596"/>
                </a:lnTo>
                <a:lnTo>
                  <a:pt x="5708" y="3613"/>
                </a:lnTo>
                <a:lnTo>
                  <a:pt x="5765" y="3633"/>
                </a:lnTo>
                <a:lnTo>
                  <a:pt x="5765" y="3633"/>
                </a:lnTo>
                <a:lnTo>
                  <a:pt x="5803" y="3645"/>
                </a:lnTo>
                <a:lnTo>
                  <a:pt x="5844" y="3661"/>
                </a:lnTo>
                <a:lnTo>
                  <a:pt x="5884" y="3678"/>
                </a:lnTo>
                <a:lnTo>
                  <a:pt x="5927" y="3696"/>
                </a:lnTo>
                <a:lnTo>
                  <a:pt x="5968" y="3716"/>
                </a:lnTo>
                <a:lnTo>
                  <a:pt x="6010" y="3737"/>
                </a:lnTo>
                <a:lnTo>
                  <a:pt x="6049" y="3761"/>
                </a:lnTo>
                <a:lnTo>
                  <a:pt x="6089" y="3788"/>
                </a:lnTo>
                <a:lnTo>
                  <a:pt x="6124" y="3814"/>
                </a:lnTo>
                <a:lnTo>
                  <a:pt x="6142" y="3830"/>
                </a:lnTo>
                <a:lnTo>
                  <a:pt x="6158" y="3845"/>
                </a:lnTo>
                <a:lnTo>
                  <a:pt x="6173" y="3861"/>
                </a:lnTo>
                <a:lnTo>
                  <a:pt x="6189" y="3878"/>
                </a:lnTo>
                <a:lnTo>
                  <a:pt x="6202" y="3895"/>
                </a:lnTo>
                <a:lnTo>
                  <a:pt x="6214" y="3912"/>
                </a:lnTo>
                <a:lnTo>
                  <a:pt x="6226" y="3930"/>
                </a:lnTo>
                <a:lnTo>
                  <a:pt x="6235" y="3950"/>
                </a:lnTo>
                <a:lnTo>
                  <a:pt x="6244" y="3970"/>
                </a:lnTo>
                <a:lnTo>
                  <a:pt x="6252" y="3989"/>
                </a:lnTo>
                <a:lnTo>
                  <a:pt x="6258" y="4010"/>
                </a:lnTo>
                <a:lnTo>
                  <a:pt x="6262" y="4032"/>
                </a:lnTo>
                <a:lnTo>
                  <a:pt x="6265" y="4054"/>
                </a:lnTo>
                <a:lnTo>
                  <a:pt x="6266" y="4077"/>
                </a:lnTo>
                <a:lnTo>
                  <a:pt x="6266" y="4503"/>
                </a:lnTo>
                <a:lnTo>
                  <a:pt x="6266" y="4503"/>
                </a:lnTo>
                <a:lnTo>
                  <a:pt x="6265" y="4529"/>
                </a:lnTo>
                <a:lnTo>
                  <a:pt x="6262" y="4544"/>
                </a:lnTo>
                <a:lnTo>
                  <a:pt x="6261" y="4555"/>
                </a:lnTo>
                <a:lnTo>
                  <a:pt x="6257" y="4566"/>
                </a:lnTo>
                <a:lnTo>
                  <a:pt x="6252" y="4577"/>
                </a:lnTo>
                <a:lnTo>
                  <a:pt x="6248" y="4589"/>
                </a:lnTo>
                <a:lnTo>
                  <a:pt x="6242" y="4599"/>
                </a:lnTo>
                <a:lnTo>
                  <a:pt x="6228" y="4617"/>
                </a:lnTo>
                <a:lnTo>
                  <a:pt x="6211" y="4635"/>
                </a:lnTo>
                <a:lnTo>
                  <a:pt x="6193" y="4652"/>
                </a:lnTo>
                <a:lnTo>
                  <a:pt x="6171" y="4668"/>
                </a:lnTo>
                <a:lnTo>
                  <a:pt x="6171" y="4668"/>
                </a:lnTo>
                <a:lnTo>
                  <a:pt x="6137" y="4692"/>
                </a:lnTo>
                <a:lnTo>
                  <a:pt x="6100" y="4716"/>
                </a:lnTo>
                <a:lnTo>
                  <a:pt x="6063" y="4737"/>
                </a:lnTo>
                <a:lnTo>
                  <a:pt x="6027" y="4758"/>
                </a:lnTo>
                <a:lnTo>
                  <a:pt x="5987" y="4778"/>
                </a:lnTo>
                <a:lnTo>
                  <a:pt x="5948" y="4797"/>
                </a:lnTo>
                <a:lnTo>
                  <a:pt x="5907" y="4816"/>
                </a:lnTo>
                <a:lnTo>
                  <a:pt x="5866" y="4833"/>
                </a:lnTo>
                <a:lnTo>
                  <a:pt x="5824" y="4850"/>
                </a:lnTo>
                <a:lnTo>
                  <a:pt x="5781" y="4865"/>
                </a:lnTo>
                <a:lnTo>
                  <a:pt x="5738" y="4879"/>
                </a:lnTo>
                <a:lnTo>
                  <a:pt x="5694" y="4893"/>
                </a:lnTo>
                <a:lnTo>
                  <a:pt x="5650" y="4906"/>
                </a:lnTo>
                <a:lnTo>
                  <a:pt x="5605" y="4919"/>
                </a:lnTo>
                <a:lnTo>
                  <a:pt x="5515" y="4940"/>
                </a:lnTo>
                <a:lnTo>
                  <a:pt x="5423" y="4960"/>
                </a:lnTo>
                <a:lnTo>
                  <a:pt x="5332" y="4975"/>
                </a:lnTo>
                <a:lnTo>
                  <a:pt x="5240" y="4989"/>
                </a:lnTo>
                <a:lnTo>
                  <a:pt x="5150" y="4999"/>
                </a:lnTo>
                <a:lnTo>
                  <a:pt x="5060" y="5007"/>
                </a:lnTo>
                <a:lnTo>
                  <a:pt x="4972" y="5013"/>
                </a:lnTo>
                <a:lnTo>
                  <a:pt x="4886" y="5016"/>
                </a:lnTo>
                <a:lnTo>
                  <a:pt x="4803" y="5017"/>
                </a:lnTo>
                <a:lnTo>
                  <a:pt x="4803" y="5017"/>
                </a:lnTo>
                <a:lnTo>
                  <a:pt x="4720" y="5016"/>
                </a:lnTo>
                <a:lnTo>
                  <a:pt x="4634" y="5013"/>
                </a:lnTo>
                <a:lnTo>
                  <a:pt x="4547" y="5007"/>
                </a:lnTo>
                <a:lnTo>
                  <a:pt x="4458" y="4999"/>
                </a:lnTo>
                <a:lnTo>
                  <a:pt x="4366" y="4989"/>
                </a:lnTo>
                <a:lnTo>
                  <a:pt x="4274" y="4975"/>
                </a:lnTo>
                <a:lnTo>
                  <a:pt x="4183" y="4960"/>
                </a:lnTo>
                <a:lnTo>
                  <a:pt x="4091" y="4940"/>
                </a:lnTo>
                <a:lnTo>
                  <a:pt x="4001" y="4919"/>
                </a:lnTo>
                <a:lnTo>
                  <a:pt x="3957" y="4906"/>
                </a:lnTo>
                <a:lnTo>
                  <a:pt x="3912" y="4893"/>
                </a:lnTo>
                <a:lnTo>
                  <a:pt x="3868" y="4879"/>
                </a:lnTo>
                <a:lnTo>
                  <a:pt x="3825" y="4865"/>
                </a:lnTo>
                <a:lnTo>
                  <a:pt x="3782" y="4850"/>
                </a:lnTo>
                <a:lnTo>
                  <a:pt x="3740" y="4833"/>
                </a:lnTo>
                <a:lnTo>
                  <a:pt x="3699" y="4816"/>
                </a:lnTo>
                <a:lnTo>
                  <a:pt x="3658" y="4797"/>
                </a:lnTo>
                <a:lnTo>
                  <a:pt x="3619" y="4778"/>
                </a:lnTo>
                <a:lnTo>
                  <a:pt x="3581" y="4758"/>
                </a:lnTo>
                <a:lnTo>
                  <a:pt x="3543" y="4737"/>
                </a:lnTo>
                <a:lnTo>
                  <a:pt x="3506" y="4716"/>
                </a:lnTo>
                <a:lnTo>
                  <a:pt x="3471" y="4692"/>
                </a:lnTo>
                <a:lnTo>
                  <a:pt x="3436" y="4668"/>
                </a:lnTo>
                <a:lnTo>
                  <a:pt x="3436" y="4668"/>
                </a:lnTo>
                <a:lnTo>
                  <a:pt x="3414" y="4652"/>
                </a:lnTo>
                <a:lnTo>
                  <a:pt x="3395" y="4635"/>
                </a:lnTo>
                <a:lnTo>
                  <a:pt x="3378" y="4617"/>
                </a:lnTo>
                <a:lnTo>
                  <a:pt x="3365" y="4599"/>
                </a:lnTo>
                <a:lnTo>
                  <a:pt x="3359" y="4589"/>
                </a:lnTo>
                <a:lnTo>
                  <a:pt x="3354" y="4577"/>
                </a:lnTo>
                <a:lnTo>
                  <a:pt x="3350" y="4566"/>
                </a:lnTo>
                <a:lnTo>
                  <a:pt x="3347" y="4555"/>
                </a:lnTo>
                <a:lnTo>
                  <a:pt x="3344" y="4544"/>
                </a:lnTo>
                <a:lnTo>
                  <a:pt x="3341" y="4529"/>
                </a:lnTo>
                <a:lnTo>
                  <a:pt x="3340" y="4503"/>
                </a:lnTo>
                <a:lnTo>
                  <a:pt x="3340" y="4077"/>
                </a:lnTo>
                <a:lnTo>
                  <a:pt x="3340" y="4077"/>
                </a:lnTo>
                <a:lnTo>
                  <a:pt x="3341" y="4054"/>
                </a:lnTo>
                <a:lnTo>
                  <a:pt x="3344" y="4032"/>
                </a:lnTo>
                <a:lnTo>
                  <a:pt x="3348" y="4010"/>
                </a:lnTo>
                <a:lnTo>
                  <a:pt x="3354" y="3989"/>
                </a:lnTo>
                <a:lnTo>
                  <a:pt x="3362" y="3970"/>
                </a:lnTo>
                <a:lnTo>
                  <a:pt x="3371" y="3950"/>
                </a:lnTo>
                <a:lnTo>
                  <a:pt x="3381" y="3930"/>
                </a:lnTo>
                <a:lnTo>
                  <a:pt x="3392" y="3912"/>
                </a:lnTo>
                <a:lnTo>
                  <a:pt x="3405" y="3895"/>
                </a:lnTo>
                <a:lnTo>
                  <a:pt x="3419" y="3878"/>
                </a:lnTo>
                <a:lnTo>
                  <a:pt x="3433" y="3861"/>
                </a:lnTo>
                <a:lnTo>
                  <a:pt x="3448" y="3845"/>
                </a:lnTo>
                <a:lnTo>
                  <a:pt x="3465" y="3830"/>
                </a:lnTo>
                <a:lnTo>
                  <a:pt x="3482" y="3814"/>
                </a:lnTo>
                <a:lnTo>
                  <a:pt x="3519" y="3788"/>
                </a:lnTo>
                <a:lnTo>
                  <a:pt x="3557" y="3761"/>
                </a:lnTo>
                <a:lnTo>
                  <a:pt x="3598" y="3737"/>
                </a:lnTo>
                <a:lnTo>
                  <a:pt x="3639" y="3716"/>
                </a:lnTo>
                <a:lnTo>
                  <a:pt x="3681" y="3696"/>
                </a:lnTo>
                <a:lnTo>
                  <a:pt x="3722" y="3678"/>
                </a:lnTo>
                <a:lnTo>
                  <a:pt x="3764" y="3661"/>
                </a:lnTo>
                <a:lnTo>
                  <a:pt x="3804" y="3645"/>
                </a:lnTo>
                <a:lnTo>
                  <a:pt x="3842" y="3633"/>
                </a:lnTo>
                <a:lnTo>
                  <a:pt x="3842" y="3633"/>
                </a:lnTo>
                <a:lnTo>
                  <a:pt x="3899" y="3613"/>
                </a:lnTo>
                <a:lnTo>
                  <a:pt x="3957" y="3596"/>
                </a:lnTo>
                <a:lnTo>
                  <a:pt x="4015" y="3580"/>
                </a:lnTo>
                <a:lnTo>
                  <a:pt x="4074" y="3565"/>
                </a:lnTo>
                <a:lnTo>
                  <a:pt x="4135" y="3552"/>
                </a:lnTo>
                <a:lnTo>
                  <a:pt x="4195" y="3539"/>
                </a:lnTo>
                <a:lnTo>
                  <a:pt x="4255" y="3530"/>
                </a:lnTo>
                <a:lnTo>
                  <a:pt x="4317" y="3520"/>
                </a:lnTo>
                <a:lnTo>
                  <a:pt x="4377" y="3511"/>
                </a:lnTo>
                <a:lnTo>
                  <a:pt x="4438" y="3504"/>
                </a:lnTo>
                <a:lnTo>
                  <a:pt x="4500" y="3499"/>
                </a:lnTo>
                <a:lnTo>
                  <a:pt x="4561" y="3493"/>
                </a:lnTo>
                <a:lnTo>
                  <a:pt x="4621" y="3490"/>
                </a:lnTo>
                <a:lnTo>
                  <a:pt x="4682" y="3487"/>
                </a:lnTo>
                <a:lnTo>
                  <a:pt x="4742" y="3486"/>
                </a:lnTo>
                <a:lnTo>
                  <a:pt x="4803" y="3484"/>
                </a:lnTo>
                <a:close/>
                <a:moveTo>
                  <a:pt x="4803" y="4522"/>
                </a:moveTo>
                <a:lnTo>
                  <a:pt x="4803" y="4522"/>
                </a:lnTo>
                <a:lnTo>
                  <a:pt x="4858" y="4521"/>
                </a:lnTo>
                <a:lnTo>
                  <a:pt x="4913" y="4520"/>
                </a:lnTo>
                <a:lnTo>
                  <a:pt x="4969" y="4518"/>
                </a:lnTo>
                <a:lnTo>
                  <a:pt x="5026" y="4515"/>
                </a:lnTo>
                <a:lnTo>
                  <a:pt x="5084" y="4511"/>
                </a:lnTo>
                <a:lnTo>
                  <a:pt x="5140" y="4505"/>
                </a:lnTo>
                <a:lnTo>
                  <a:pt x="5198" y="4500"/>
                </a:lnTo>
                <a:lnTo>
                  <a:pt x="5256" y="4493"/>
                </a:lnTo>
                <a:lnTo>
                  <a:pt x="5312" y="4484"/>
                </a:lnTo>
                <a:lnTo>
                  <a:pt x="5370" y="4474"/>
                </a:lnTo>
                <a:lnTo>
                  <a:pt x="5426" y="4463"/>
                </a:lnTo>
                <a:lnTo>
                  <a:pt x="5481" y="4450"/>
                </a:lnTo>
                <a:lnTo>
                  <a:pt x="5536" y="4438"/>
                </a:lnTo>
                <a:lnTo>
                  <a:pt x="5590" y="4422"/>
                </a:lnTo>
                <a:lnTo>
                  <a:pt x="5643" y="4405"/>
                </a:lnTo>
                <a:lnTo>
                  <a:pt x="5695" y="4388"/>
                </a:lnTo>
                <a:lnTo>
                  <a:pt x="5695" y="4388"/>
                </a:lnTo>
                <a:lnTo>
                  <a:pt x="5746" y="4369"/>
                </a:lnTo>
                <a:lnTo>
                  <a:pt x="5776" y="4356"/>
                </a:lnTo>
                <a:lnTo>
                  <a:pt x="5805" y="4343"/>
                </a:lnTo>
                <a:lnTo>
                  <a:pt x="5835" y="4328"/>
                </a:lnTo>
                <a:lnTo>
                  <a:pt x="5865" y="4312"/>
                </a:lnTo>
                <a:lnTo>
                  <a:pt x="5896" y="4294"/>
                </a:lnTo>
                <a:lnTo>
                  <a:pt x="5924" y="4274"/>
                </a:lnTo>
                <a:lnTo>
                  <a:pt x="5952" y="4254"/>
                </a:lnTo>
                <a:lnTo>
                  <a:pt x="5977" y="4233"/>
                </a:lnTo>
                <a:lnTo>
                  <a:pt x="6000" y="4209"/>
                </a:lnTo>
                <a:lnTo>
                  <a:pt x="6010" y="4198"/>
                </a:lnTo>
                <a:lnTo>
                  <a:pt x="6020" y="4185"/>
                </a:lnTo>
                <a:lnTo>
                  <a:pt x="6028" y="4173"/>
                </a:lnTo>
                <a:lnTo>
                  <a:pt x="6037" y="4160"/>
                </a:lnTo>
                <a:lnTo>
                  <a:pt x="6044" y="4146"/>
                </a:lnTo>
                <a:lnTo>
                  <a:pt x="6049" y="4132"/>
                </a:lnTo>
                <a:lnTo>
                  <a:pt x="6054" y="4118"/>
                </a:lnTo>
                <a:lnTo>
                  <a:pt x="6056" y="4104"/>
                </a:lnTo>
                <a:lnTo>
                  <a:pt x="6058" y="4089"/>
                </a:lnTo>
                <a:lnTo>
                  <a:pt x="6059" y="4074"/>
                </a:lnTo>
                <a:lnTo>
                  <a:pt x="6059" y="4074"/>
                </a:lnTo>
                <a:lnTo>
                  <a:pt x="6058" y="4060"/>
                </a:lnTo>
                <a:lnTo>
                  <a:pt x="6056" y="4044"/>
                </a:lnTo>
                <a:lnTo>
                  <a:pt x="6054" y="4030"/>
                </a:lnTo>
                <a:lnTo>
                  <a:pt x="6049" y="4016"/>
                </a:lnTo>
                <a:lnTo>
                  <a:pt x="6044" y="4003"/>
                </a:lnTo>
                <a:lnTo>
                  <a:pt x="6037" y="3989"/>
                </a:lnTo>
                <a:lnTo>
                  <a:pt x="6028" y="3977"/>
                </a:lnTo>
                <a:lnTo>
                  <a:pt x="6020" y="3964"/>
                </a:lnTo>
                <a:lnTo>
                  <a:pt x="6010" y="3951"/>
                </a:lnTo>
                <a:lnTo>
                  <a:pt x="6000" y="3939"/>
                </a:lnTo>
                <a:lnTo>
                  <a:pt x="5977" y="3916"/>
                </a:lnTo>
                <a:lnTo>
                  <a:pt x="5952" y="3895"/>
                </a:lnTo>
                <a:lnTo>
                  <a:pt x="5924" y="3874"/>
                </a:lnTo>
                <a:lnTo>
                  <a:pt x="5896" y="3855"/>
                </a:lnTo>
                <a:lnTo>
                  <a:pt x="5865" y="3837"/>
                </a:lnTo>
                <a:lnTo>
                  <a:pt x="5835" y="3822"/>
                </a:lnTo>
                <a:lnTo>
                  <a:pt x="5805" y="3806"/>
                </a:lnTo>
                <a:lnTo>
                  <a:pt x="5776" y="3792"/>
                </a:lnTo>
                <a:lnTo>
                  <a:pt x="5746" y="3781"/>
                </a:lnTo>
                <a:lnTo>
                  <a:pt x="5695" y="3761"/>
                </a:lnTo>
                <a:lnTo>
                  <a:pt x="5695" y="3761"/>
                </a:lnTo>
                <a:lnTo>
                  <a:pt x="5643" y="3743"/>
                </a:lnTo>
                <a:lnTo>
                  <a:pt x="5590" y="3727"/>
                </a:lnTo>
                <a:lnTo>
                  <a:pt x="5536" y="3712"/>
                </a:lnTo>
                <a:lnTo>
                  <a:pt x="5481" y="3697"/>
                </a:lnTo>
                <a:lnTo>
                  <a:pt x="5426" y="3686"/>
                </a:lnTo>
                <a:lnTo>
                  <a:pt x="5370" y="3675"/>
                </a:lnTo>
                <a:lnTo>
                  <a:pt x="5312" y="3665"/>
                </a:lnTo>
                <a:lnTo>
                  <a:pt x="5256" y="3657"/>
                </a:lnTo>
                <a:lnTo>
                  <a:pt x="5198" y="3649"/>
                </a:lnTo>
                <a:lnTo>
                  <a:pt x="5140" y="3644"/>
                </a:lnTo>
                <a:lnTo>
                  <a:pt x="5084" y="3638"/>
                </a:lnTo>
                <a:lnTo>
                  <a:pt x="5026" y="3634"/>
                </a:lnTo>
                <a:lnTo>
                  <a:pt x="4969" y="3631"/>
                </a:lnTo>
                <a:lnTo>
                  <a:pt x="4913" y="3628"/>
                </a:lnTo>
                <a:lnTo>
                  <a:pt x="4858" y="3627"/>
                </a:lnTo>
                <a:lnTo>
                  <a:pt x="4803" y="3627"/>
                </a:lnTo>
                <a:lnTo>
                  <a:pt x="4803" y="3627"/>
                </a:lnTo>
                <a:lnTo>
                  <a:pt x="4748" y="3627"/>
                </a:lnTo>
                <a:lnTo>
                  <a:pt x="4693" y="3628"/>
                </a:lnTo>
                <a:lnTo>
                  <a:pt x="4637" y="3631"/>
                </a:lnTo>
                <a:lnTo>
                  <a:pt x="4580" y="3634"/>
                </a:lnTo>
                <a:lnTo>
                  <a:pt x="4523" y="3638"/>
                </a:lnTo>
                <a:lnTo>
                  <a:pt x="4466" y="3644"/>
                </a:lnTo>
                <a:lnTo>
                  <a:pt x="4408" y="3649"/>
                </a:lnTo>
                <a:lnTo>
                  <a:pt x="4351" y="3657"/>
                </a:lnTo>
                <a:lnTo>
                  <a:pt x="4294" y="3665"/>
                </a:lnTo>
                <a:lnTo>
                  <a:pt x="4238" y="3675"/>
                </a:lnTo>
                <a:lnTo>
                  <a:pt x="4181" y="3686"/>
                </a:lnTo>
                <a:lnTo>
                  <a:pt x="4125" y="3697"/>
                </a:lnTo>
                <a:lnTo>
                  <a:pt x="4070" y="3712"/>
                </a:lnTo>
                <a:lnTo>
                  <a:pt x="4016" y="3727"/>
                </a:lnTo>
                <a:lnTo>
                  <a:pt x="3963" y="3743"/>
                </a:lnTo>
                <a:lnTo>
                  <a:pt x="3911" y="3761"/>
                </a:lnTo>
                <a:lnTo>
                  <a:pt x="3911" y="3761"/>
                </a:lnTo>
                <a:lnTo>
                  <a:pt x="3860" y="3781"/>
                </a:lnTo>
                <a:lnTo>
                  <a:pt x="3832" y="3792"/>
                </a:lnTo>
                <a:lnTo>
                  <a:pt x="3802" y="3806"/>
                </a:lnTo>
                <a:lnTo>
                  <a:pt x="3771" y="3822"/>
                </a:lnTo>
                <a:lnTo>
                  <a:pt x="3742" y="3837"/>
                </a:lnTo>
                <a:lnTo>
                  <a:pt x="3712" y="3855"/>
                </a:lnTo>
                <a:lnTo>
                  <a:pt x="3682" y="3874"/>
                </a:lnTo>
                <a:lnTo>
                  <a:pt x="3656" y="3895"/>
                </a:lnTo>
                <a:lnTo>
                  <a:pt x="3630" y="3916"/>
                </a:lnTo>
                <a:lnTo>
                  <a:pt x="3606" y="3939"/>
                </a:lnTo>
                <a:lnTo>
                  <a:pt x="3596" y="3951"/>
                </a:lnTo>
                <a:lnTo>
                  <a:pt x="3586" y="3964"/>
                </a:lnTo>
                <a:lnTo>
                  <a:pt x="3578" y="3977"/>
                </a:lnTo>
                <a:lnTo>
                  <a:pt x="3570" y="3989"/>
                </a:lnTo>
                <a:lnTo>
                  <a:pt x="3564" y="4003"/>
                </a:lnTo>
                <a:lnTo>
                  <a:pt x="3558" y="4016"/>
                </a:lnTo>
                <a:lnTo>
                  <a:pt x="3553" y="4030"/>
                </a:lnTo>
                <a:lnTo>
                  <a:pt x="3550" y="4044"/>
                </a:lnTo>
                <a:lnTo>
                  <a:pt x="3548" y="4060"/>
                </a:lnTo>
                <a:lnTo>
                  <a:pt x="3547" y="4074"/>
                </a:lnTo>
                <a:lnTo>
                  <a:pt x="3547" y="4074"/>
                </a:lnTo>
                <a:lnTo>
                  <a:pt x="3548" y="4089"/>
                </a:lnTo>
                <a:lnTo>
                  <a:pt x="3550" y="4104"/>
                </a:lnTo>
                <a:lnTo>
                  <a:pt x="3553" y="4118"/>
                </a:lnTo>
                <a:lnTo>
                  <a:pt x="3558" y="4132"/>
                </a:lnTo>
                <a:lnTo>
                  <a:pt x="3564" y="4146"/>
                </a:lnTo>
                <a:lnTo>
                  <a:pt x="3570" y="4160"/>
                </a:lnTo>
                <a:lnTo>
                  <a:pt x="3578" y="4173"/>
                </a:lnTo>
                <a:lnTo>
                  <a:pt x="3586" y="4185"/>
                </a:lnTo>
                <a:lnTo>
                  <a:pt x="3596" y="4198"/>
                </a:lnTo>
                <a:lnTo>
                  <a:pt x="3606" y="4209"/>
                </a:lnTo>
                <a:lnTo>
                  <a:pt x="3630" y="4233"/>
                </a:lnTo>
                <a:lnTo>
                  <a:pt x="3656" y="4254"/>
                </a:lnTo>
                <a:lnTo>
                  <a:pt x="3682" y="4274"/>
                </a:lnTo>
                <a:lnTo>
                  <a:pt x="3712" y="4294"/>
                </a:lnTo>
                <a:lnTo>
                  <a:pt x="3742" y="4312"/>
                </a:lnTo>
                <a:lnTo>
                  <a:pt x="3771" y="4328"/>
                </a:lnTo>
                <a:lnTo>
                  <a:pt x="3802" y="4343"/>
                </a:lnTo>
                <a:lnTo>
                  <a:pt x="3832" y="4356"/>
                </a:lnTo>
                <a:lnTo>
                  <a:pt x="3860" y="4369"/>
                </a:lnTo>
                <a:lnTo>
                  <a:pt x="3911" y="4388"/>
                </a:lnTo>
                <a:lnTo>
                  <a:pt x="3911" y="4388"/>
                </a:lnTo>
                <a:lnTo>
                  <a:pt x="3963" y="4405"/>
                </a:lnTo>
                <a:lnTo>
                  <a:pt x="4016" y="4422"/>
                </a:lnTo>
                <a:lnTo>
                  <a:pt x="4070" y="4438"/>
                </a:lnTo>
                <a:lnTo>
                  <a:pt x="4125" y="4450"/>
                </a:lnTo>
                <a:lnTo>
                  <a:pt x="4181" y="4463"/>
                </a:lnTo>
                <a:lnTo>
                  <a:pt x="4238" y="4474"/>
                </a:lnTo>
                <a:lnTo>
                  <a:pt x="4294" y="4484"/>
                </a:lnTo>
                <a:lnTo>
                  <a:pt x="4351" y="4493"/>
                </a:lnTo>
                <a:lnTo>
                  <a:pt x="4408" y="4500"/>
                </a:lnTo>
                <a:lnTo>
                  <a:pt x="4466" y="4505"/>
                </a:lnTo>
                <a:lnTo>
                  <a:pt x="4523" y="4511"/>
                </a:lnTo>
                <a:lnTo>
                  <a:pt x="4580" y="4515"/>
                </a:lnTo>
                <a:lnTo>
                  <a:pt x="4637" y="4518"/>
                </a:lnTo>
                <a:lnTo>
                  <a:pt x="4693" y="4520"/>
                </a:lnTo>
                <a:lnTo>
                  <a:pt x="4748" y="4521"/>
                </a:lnTo>
                <a:lnTo>
                  <a:pt x="4803" y="4522"/>
                </a:lnTo>
                <a:close/>
                <a:moveTo>
                  <a:pt x="1212" y="6456"/>
                </a:moveTo>
                <a:lnTo>
                  <a:pt x="1212" y="6456"/>
                </a:lnTo>
                <a:lnTo>
                  <a:pt x="1118" y="6461"/>
                </a:lnTo>
                <a:lnTo>
                  <a:pt x="1023" y="6470"/>
                </a:lnTo>
                <a:lnTo>
                  <a:pt x="928" y="6482"/>
                </a:lnTo>
                <a:lnTo>
                  <a:pt x="835" y="6497"/>
                </a:lnTo>
                <a:lnTo>
                  <a:pt x="787" y="6505"/>
                </a:lnTo>
                <a:lnTo>
                  <a:pt x="740" y="6515"/>
                </a:lnTo>
                <a:lnTo>
                  <a:pt x="694" y="6525"/>
                </a:lnTo>
                <a:lnTo>
                  <a:pt x="648" y="6536"/>
                </a:lnTo>
                <a:lnTo>
                  <a:pt x="602" y="6549"/>
                </a:lnTo>
                <a:lnTo>
                  <a:pt x="557" y="6561"/>
                </a:lnTo>
                <a:lnTo>
                  <a:pt x="513" y="6576"/>
                </a:lnTo>
                <a:lnTo>
                  <a:pt x="468" y="6590"/>
                </a:lnTo>
                <a:lnTo>
                  <a:pt x="468" y="6590"/>
                </a:lnTo>
                <a:lnTo>
                  <a:pt x="395" y="6616"/>
                </a:lnTo>
                <a:lnTo>
                  <a:pt x="357" y="6632"/>
                </a:lnTo>
                <a:lnTo>
                  <a:pt x="317" y="6649"/>
                </a:lnTo>
                <a:lnTo>
                  <a:pt x="278" y="6667"/>
                </a:lnTo>
                <a:lnTo>
                  <a:pt x="240" y="6688"/>
                </a:lnTo>
                <a:lnTo>
                  <a:pt x="202" y="6711"/>
                </a:lnTo>
                <a:lnTo>
                  <a:pt x="166" y="6735"/>
                </a:lnTo>
                <a:lnTo>
                  <a:pt x="131" y="6760"/>
                </a:lnTo>
                <a:lnTo>
                  <a:pt x="116" y="6774"/>
                </a:lnTo>
                <a:lnTo>
                  <a:pt x="100" y="6788"/>
                </a:lnTo>
                <a:lnTo>
                  <a:pt x="86" y="6804"/>
                </a:lnTo>
                <a:lnTo>
                  <a:pt x="72" y="6819"/>
                </a:lnTo>
                <a:lnTo>
                  <a:pt x="59" y="6835"/>
                </a:lnTo>
                <a:lnTo>
                  <a:pt x="48" y="6852"/>
                </a:lnTo>
                <a:lnTo>
                  <a:pt x="38" y="6869"/>
                </a:lnTo>
                <a:lnTo>
                  <a:pt x="28" y="6886"/>
                </a:lnTo>
                <a:lnTo>
                  <a:pt x="20" y="6904"/>
                </a:lnTo>
                <a:lnTo>
                  <a:pt x="13" y="6924"/>
                </a:lnTo>
                <a:lnTo>
                  <a:pt x="7" y="6944"/>
                </a:lnTo>
                <a:lnTo>
                  <a:pt x="3" y="6963"/>
                </a:lnTo>
                <a:lnTo>
                  <a:pt x="0" y="6984"/>
                </a:lnTo>
                <a:lnTo>
                  <a:pt x="0" y="7006"/>
                </a:lnTo>
                <a:lnTo>
                  <a:pt x="0" y="7403"/>
                </a:lnTo>
                <a:lnTo>
                  <a:pt x="0" y="7403"/>
                </a:lnTo>
                <a:lnTo>
                  <a:pt x="1" y="7429"/>
                </a:lnTo>
                <a:lnTo>
                  <a:pt x="6" y="7453"/>
                </a:lnTo>
                <a:lnTo>
                  <a:pt x="13" y="7474"/>
                </a:lnTo>
                <a:lnTo>
                  <a:pt x="23" y="7494"/>
                </a:lnTo>
                <a:lnTo>
                  <a:pt x="35" y="7510"/>
                </a:lnTo>
                <a:lnTo>
                  <a:pt x="51" y="7527"/>
                </a:lnTo>
                <a:lnTo>
                  <a:pt x="68" y="7543"/>
                </a:lnTo>
                <a:lnTo>
                  <a:pt x="89" y="7558"/>
                </a:lnTo>
                <a:lnTo>
                  <a:pt x="89" y="7558"/>
                </a:lnTo>
                <a:lnTo>
                  <a:pt x="120" y="7580"/>
                </a:lnTo>
                <a:lnTo>
                  <a:pt x="151" y="7601"/>
                </a:lnTo>
                <a:lnTo>
                  <a:pt x="185" y="7620"/>
                </a:lnTo>
                <a:lnTo>
                  <a:pt x="217" y="7639"/>
                </a:lnTo>
                <a:lnTo>
                  <a:pt x="252" y="7657"/>
                </a:lnTo>
                <a:lnTo>
                  <a:pt x="288" y="7674"/>
                </a:lnTo>
                <a:lnTo>
                  <a:pt x="323" y="7691"/>
                </a:lnTo>
                <a:lnTo>
                  <a:pt x="359" y="7706"/>
                </a:lnTo>
                <a:lnTo>
                  <a:pt x="398" y="7722"/>
                </a:lnTo>
                <a:lnTo>
                  <a:pt x="436" y="7736"/>
                </a:lnTo>
                <a:lnTo>
                  <a:pt x="474" y="7749"/>
                </a:lnTo>
                <a:lnTo>
                  <a:pt x="513" y="7761"/>
                </a:lnTo>
                <a:lnTo>
                  <a:pt x="592" y="7785"/>
                </a:lnTo>
                <a:lnTo>
                  <a:pt x="672" y="7807"/>
                </a:lnTo>
                <a:lnTo>
                  <a:pt x="672" y="7807"/>
                </a:lnTo>
                <a:lnTo>
                  <a:pt x="661" y="7780"/>
                </a:lnTo>
                <a:lnTo>
                  <a:pt x="651" y="7752"/>
                </a:lnTo>
                <a:lnTo>
                  <a:pt x="644" y="7725"/>
                </a:lnTo>
                <a:lnTo>
                  <a:pt x="639" y="7697"/>
                </a:lnTo>
                <a:lnTo>
                  <a:pt x="634" y="7667"/>
                </a:lnTo>
                <a:lnTo>
                  <a:pt x="632" y="7639"/>
                </a:lnTo>
                <a:lnTo>
                  <a:pt x="630" y="7609"/>
                </a:lnTo>
                <a:lnTo>
                  <a:pt x="632" y="7580"/>
                </a:lnTo>
                <a:lnTo>
                  <a:pt x="633" y="7550"/>
                </a:lnTo>
                <a:lnTo>
                  <a:pt x="636" y="7520"/>
                </a:lnTo>
                <a:lnTo>
                  <a:pt x="640" y="7491"/>
                </a:lnTo>
                <a:lnTo>
                  <a:pt x="646" y="7460"/>
                </a:lnTo>
                <a:lnTo>
                  <a:pt x="653" y="7430"/>
                </a:lnTo>
                <a:lnTo>
                  <a:pt x="660" y="7400"/>
                </a:lnTo>
                <a:lnTo>
                  <a:pt x="677" y="7341"/>
                </a:lnTo>
                <a:lnTo>
                  <a:pt x="677" y="7341"/>
                </a:lnTo>
                <a:lnTo>
                  <a:pt x="605" y="7320"/>
                </a:lnTo>
                <a:lnTo>
                  <a:pt x="568" y="7309"/>
                </a:lnTo>
                <a:lnTo>
                  <a:pt x="533" y="7296"/>
                </a:lnTo>
                <a:lnTo>
                  <a:pt x="533" y="7296"/>
                </a:lnTo>
                <a:lnTo>
                  <a:pt x="485" y="7278"/>
                </a:lnTo>
                <a:lnTo>
                  <a:pt x="458" y="7267"/>
                </a:lnTo>
                <a:lnTo>
                  <a:pt x="431" y="7254"/>
                </a:lnTo>
                <a:lnTo>
                  <a:pt x="403" y="7240"/>
                </a:lnTo>
                <a:lnTo>
                  <a:pt x="375" y="7226"/>
                </a:lnTo>
                <a:lnTo>
                  <a:pt x="347" y="7209"/>
                </a:lnTo>
                <a:lnTo>
                  <a:pt x="320" y="7190"/>
                </a:lnTo>
                <a:lnTo>
                  <a:pt x="293" y="7172"/>
                </a:lnTo>
                <a:lnTo>
                  <a:pt x="269" y="7151"/>
                </a:lnTo>
                <a:lnTo>
                  <a:pt x="248" y="7130"/>
                </a:lnTo>
                <a:lnTo>
                  <a:pt x="230" y="7107"/>
                </a:lnTo>
                <a:lnTo>
                  <a:pt x="221" y="7094"/>
                </a:lnTo>
                <a:lnTo>
                  <a:pt x="214" y="7083"/>
                </a:lnTo>
                <a:lnTo>
                  <a:pt x="209" y="7071"/>
                </a:lnTo>
                <a:lnTo>
                  <a:pt x="203" y="7058"/>
                </a:lnTo>
                <a:lnTo>
                  <a:pt x="199" y="7044"/>
                </a:lnTo>
                <a:lnTo>
                  <a:pt x="196" y="7031"/>
                </a:lnTo>
                <a:lnTo>
                  <a:pt x="193" y="7017"/>
                </a:lnTo>
                <a:lnTo>
                  <a:pt x="193" y="7003"/>
                </a:lnTo>
                <a:lnTo>
                  <a:pt x="193" y="7003"/>
                </a:lnTo>
                <a:lnTo>
                  <a:pt x="193" y="6989"/>
                </a:lnTo>
                <a:lnTo>
                  <a:pt x="196" y="6976"/>
                </a:lnTo>
                <a:lnTo>
                  <a:pt x="199" y="6962"/>
                </a:lnTo>
                <a:lnTo>
                  <a:pt x="203" y="6949"/>
                </a:lnTo>
                <a:lnTo>
                  <a:pt x="209" y="6937"/>
                </a:lnTo>
                <a:lnTo>
                  <a:pt x="214" y="6924"/>
                </a:lnTo>
                <a:lnTo>
                  <a:pt x="221" y="6911"/>
                </a:lnTo>
                <a:lnTo>
                  <a:pt x="230" y="6900"/>
                </a:lnTo>
                <a:lnTo>
                  <a:pt x="248" y="6877"/>
                </a:lnTo>
                <a:lnTo>
                  <a:pt x="269" y="6855"/>
                </a:lnTo>
                <a:lnTo>
                  <a:pt x="293" y="6835"/>
                </a:lnTo>
                <a:lnTo>
                  <a:pt x="320" y="6815"/>
                </a:lnTo>
                <a:lnTo>
                  <a:pt x="347" y="6798"/>
                </a:lnTo>
                <a:lnTo>
                  <a:pt x="375" y="6781"/>
                </a:lnTo>
                <a:lnTo>
                  <a:pt x="403" y="6766"/>
                </a:lnTo>
                <a:lnTo>
                  <a:pt x="431" y="6752"/>
                </a:lnTo>
                <a:lnTo>
                  <a:pt x="458" y="6739"/>
                </a:lnTo>
                <a:lnTo>
                  <a:pt x="485" y="6728"/>
                </a:lnTo>
                <a:lnTo>
                  <a:pt x="533" y="6710"/>
                </a:lnTo>
                <a:lnTo>
                  <a:pt x="533" y="6710"/>
                </a:lnTo>
                <a:lnTo>
                  <a:pt x="599" y="6687"/>
                </a:lnTo>
                <a:lnTo>
                  <a:pt x="667" y="6667"/>
                </a:lnTo>
                <a:lnTo>
                  <a:pt x="737" y="6650"/>
                </a:lnTo>
                <a:lnTo>
                  <a:pt x="808" y="6635"/>
                </a:lnTo>
                <a:lnTo>
                  <a:pt x="880" y="6622"/>
                </a:lnTo>
                <a:lnTo>
                  <a:pt x="952" y="6612"/>
                </a:lnTo>
                <a:lnTo>
                  <a:pt x="1025" y="6602"/>
                </a:lnTo>
                <a:lnTo>
                  <a:pt x="1097" y="6595"/>
                </a:lnTo>
                <a:lnTo>
                  <a:pt x="1097" y="6595"/>
                </a:lnTo>
                <a:lnTo>
                  <a:pt x="1153" y="6525"/>
                </a:lnTo>
                <a:lnTo>
                  <a:pt x="1212" y="6456"/>
                </a:lnTo>
                <a:close/>
                <a:moveTo>
                  <a:pt x="1462" y="6320"/>
                </a:moveTo>
                <a:lnTo>
                  <a:pt x="1462" y="6320"/>
                </a:lnTo>
                <a:lnTo>
                  <a:pt x="1507" y="6277"/>
                </a:lnTo>
                <a:lnTo>
                  <a:pt x="1554" y="6233"/>
                </a:lnTo>
                <a:lnTo>
                  <a:pt x="1602" y="6189"/>
                </a:lnTo>
                <a:lnTo>
                  <a:pt x="1649" y="6147"/>
                </a:lnTo>
                <a:lnTo>
                  <a:pt x="1699" y="6105"/>
                </a:lnTo>
                <a:lnTo>
                  <a:pt x="1748" y="6064"/>
                </a:lnTo>
                <a:lnTo>
                  <a:pt x="1799" y="6023"/>
                </a:lnTo>
                <a:lnTo>
                  <a:pt x="1851" y="5983"/>
                </a:lnTo>
                <a:lnTo>
                  <a:pt x="1903" y="5945"/>
                </a:lnTo>
                <a:lnTo>
                  <a:pt x="1955" y="5909"/>
                </a:lnTo>
                <a:lnTo>
                  <a:pt x="2010" y="5873"/>
                </a:lnTo>
                <a:lnTo>
                  <a:pt x="2064" y="5838"/>
                </a:lnTo>
                <a:lnTo>
                  <a:pt x="2119" y="5806"/>
                </a:lnTo>
                <a:lnTo>
                  <a:pt x="2175" y="5773"/>
                </a:lnTo>
                <a:lnTo>
                  <a:pt x="2232" y="5744"/>
                </a:lnTo>
                <a:lnTo>
                  <a:pt x="2288" y="5714"/>
                </a:lnTo>
                <a:lnTo>
                  <a:pt x="2288" y="5714"/>
                </a:lnTo>
                <a:lnTo>
                  <a:pt x="2326" y="5696"/>
                </a:lnTo>
                <a:lnTo>
                  <a:pt x="2367" y="5677"/>
                </a:lnTo>
                <a:lnTo>
                  <a:pt x="2409" y="5659"/>
                </a:lnTo>
                <a:lnTo>
                  <a:pt x="2454" y="5642"/>
                </a:lnTo>
                <a:lnTo>
                  <a:pt x="2501" y="5625"/>
                </a:lnTo>
                <a:lnTo>
                  <a:pt x="2547" y="5611"/>
                </a:lnTo>
                <a:lnTo>
                  <a:pt x="2595" y="5598"/>
                </a:lnTo>
                <a:lnTo>
                  <a:pt x="2643" y="5588"/>
                </a:lnTo>
                <a:lnTo>
                  <a:pt x="2667" y="5586"/>
                </a:lnTo>
                <a:lnTo>
                  <a:pt x="2691" y="5583"/>
                </a:lnTo>
                <a:lnTo>
                  <a:pt x="2715" y="5581"/>
                </a:lnTo>
                <a:lnTo>
                  <a:pt x="2739" y="5580"/>
                </a:lnTo>
                <a:lnTo>
                  <a:pt x="2762" y="5580"/>
                </a:lnTo>
                <a:lnTo>
                  <a:pt x="2786" y="5581"/>
                </a:lnTo>
                <a:lnTo>
                  <a:pt x="2808" y="5584"/>
                </a:lnTo>
                <a:lnTo>
                  <a:pt x="2831" y="5588"/>
                </a:lnTo>
                <a:lnTo>
                  <a:pt x="2853" y="5594"/>
                </a:lnTo>
                <a:lnTo>
                  <a:pt x="2875" y="5600"/>
                </a:lnTo>
                <a:lnTo>
                  <a:pt x="2896" y="5608"/>
                </a:lnTo>
                <a:lnTo>
                  <a:pt x="2915" y="5618"/>
                </a:lnTo>
                <a:lnTo>
                  <a:pt x="2937" y="5629"/>
                </a:lnTo>
                <a:lnTo>
                  <a:pt x="2955" y="5642"/>
                </a:lnTo>
                <a:lnTo>
                  <a:pt x="2973" y="5656"/>
                </a:lnTo>
                <a:lnTo>
                  <a:pt x="2992" y="5672"/>
                </a:lnTo>
                <a:lnTo>
                  <a:pt x="3309" y="5989"/>
                </a:lnTo>
                <a:lnTo>
                  <a:pt x="3309" y="5989"/>
                </a:lnTo>
                <a:lnTo>
                  <a:pt x="3319" y="6000"/>
                </a:lnTo>
                <a:lnTo>
                  <a:pt x="3328" y="6010"/>
                </a:lnTo>
                <a:lnTo>
                  <a:pt x="3336" y="6021"/>
                </a:lnTo>
                <a:lnTo>
                  <a:pt x="3343" y="6033"/>
                </a:lnTo>
                <a:lnTo>
                  <a:pt x="3350" y="6044"/>
                </a:lnTo>
                <a:lnTo>
                  <a:pt x="3354" y="6055"/>
                </a:lnTo>
                <a:lnTo>
                  <a:pt x="3358" y="6066"/>
                </a:lnTo>
                <a:lnTo>
                  <a:pt x="3362" y="6079"/>
                </a:lnTo>
                <a:lnTo>
                  <a:pt x="3364" y="6090"/>
                </a:lnTo>
                <a:lnTo>
                  <a:pt x="3365" y="6103"/>
                </a:lnTo>
                <a:lnTo>
                  <a:pt x="3367" y="6129"/>
                </a:lnTo>
                <a:lnTo>
                  <a:pt x="3365" y="6155"/>
                </a:lnTo>
                <a:lnTo>
                  <a:pt x="3361" y="6184"/>
                </a:lnTo>
                <a:lnTo>
                  <a:pt x="3361" y="6184"/>
                </a:lnTo>
                <a:lnTo>
                  <a:pt x="3352" y="6227"/>
                </a:lnTo>
                <a:lnTo>
                  <a:pt x="3344" y="6271"/>
                </a:lnTo>
                <a:lnTo>
                  <a:pt x="3333" y="6315"/>
                </a:lnTo>
                <a:lnTo>
                  <a:pt x="3320" y="6358"/>
                </a:lnTo>
                <a:lnTo>
                  <a:pt x="3306" y="6402"/>
                </a:lnTo>
                <a:lnTo>
                  <a:pt x="3290" y="6446"/>
                </a:lnTo>
                <a:lnTo>
                  <a:pt x="3273" y="6490"/>
                </a:lnTo>
                <a:lnTo>
                  <a:pt x="3257" y="6533"/>
                </a:lnTo>
                <a:lnTo>
                  <a:pt x="3237" y="6577"/>
                </a:lnTo>
                <a:lnTo>
                  <a:pt x="3217" y="6619"/>
                </a:lnTo>
                <a:lnTo>
                  <a:pt x="3196" y="6663"/>
                </a:lnTo>
                <a:lnTo>
                  <a:pt x="3173" y="6705"/>
                </a:lnTo>
                <a:lnTo>
                  <a:pt x="3149" y="6749"/>
                </a:lnTo>
                <a:lnTo>
                  <a:pt x="3125" y="6791"/>
                </a:lnTo>
                <a:lnTo>
                  <a:pt x="3100" y="6832"/>
                </a:lnTo>
                <a:lnTo>
                  <a:pt x="3075" y="6874"/>
                </a:lnTo>
                <a:lnTo>
                  <a:pt x="3021" y="6956"/>
                </a:lnTo>
                <a:lnTo>
                  <a:pt x="2965" y="7037"/>
                </a:lnTo>
                <a:lnTo>
                  <a:pt x="2907" y="7114"/>
                </a:lnTo>
                <a:lnTo>
                  <a:pt x="2846" y="7190"/>
                </a:lnTo>
                <a:lnTo>
                  <a:pt x="2786" y="7262"/>
                </a:lnTo>
                <a:lnTo>
                  <a:pt x="2725" y="7333"/>
                </a:lnTo>
                <a:lnTo>
                  <a:pt x="2663" y="7399"/>
                </a:lnTo>
                <a:lnTo>
                  <a:pt x="2602" y="7461"/>
                </a:lnTo>
                <a:lnTo>
                  <a:pt x="2602" y="7461"/>
                </a:lnTo>
                <a:lnTo>
                  <a:pt x="2540" y="7522"/>
                </a:lnTo>
                <a:lnTo>
                  <a:pt x="2474" y="7584"/>
                </a:lnTo>
                <a:lnTo>
                  <a:pt x="2404" y="7644"/>
                </a:lnTo>
                <a:lnTo>
                  <a:pt x="2332" y="7705"/>
                </a:lnTo>
                <a:lnTo>
                  <a:pt x="2256" y="7766"/>
                </a:lnTo>
                <a:lnTo>
                  <a:pt x="2178" y="7824"/>
                </a:lnTo>
                <a:lnTo>
                  <a:pt x="2098" y="7880"/>
                </a:lnTo>
                <a:lnTo>
                  <a:pt x="2016" y="7934"/>
                </a:lnTo>
                <a:lnTo>
                  <a:pt x="1974" y="7960"/>
                </a:lnTo>
                <a:lnTo>
                  <a:pt x="1933" y="7984"/>
                </a:lnTo>
                <a:lnTo>
                  <a:pt x="1891" y="8008"/>
                </a:lnTo>
                <a:lnTo>
                  <a:pt x="1847" y="8032"/>
                </a:lnTo>
                <a:lnTo>
                  <a:pt x="1805" y="8055"/>
                </a:lnTo>
                <a:lnTo>
                  <a:pt x="1761" y="8076"/>
                </a:lnTo>
                <a:lnTo>
                  <a:pt x="1717" y="8096"/>
                </a:lnTo>
                <a:lnTo>
                  <a:pt x="1675" y="8115"/>
                </a:lnTo>
                <a:lnTo>
                  <a:pt x="1631" y="8134"/>
                </a:lnTo>
                <a:lnTo>
                  <a:pt x="1587" y="8149"/>
                </a:lnTo>
                <a:lnTo>
                  <a:pt x="1544" y="8165"/>
                </a:lnTo>
                <a:lnTo>
                  <a:pt x="1500" y="8179"/>
                </a:lnTo>
                <a:lnTo>
                  <a:pt x="1456" y="8192"/>
                </a:lnTo>
                <a:lnTo>
                  <a:pt x="1413" y="8203"/>
                </a:lnTo>
                <a:lnTo>
                  <a:pt x="1369" y="8211"/>
                </a:lnTo>
                <a:lnTo>
                  <a:pt x="1325" y="8220"/>
                </a:lnTo>
                <a:lnTo>
                  <a:pt x="1325" y="8220"/>
                </a:lnTo>
                <a:lnTo>
                  <a:pt x="1297" y="8224"/>
                </a:lnTo>
                <a:lnTo>
                  <a:pt x="1270" y="8225"/>
                </a:lnTo>
                <a:lnTo>
                  <a:pt x="1245" y="8225"/>
                </a:lnTo>
                <a:lnTo>
                  <a:pt x="1232" y="8223"/>
                </a:lnTo>
                <a:lnTo>
                  <a:pt x="1219" y="8221"/>
                </a:lnTo>
                <a:lnTo>
                  <a:pt x="1208" y="8217"/>
                </a:lnTo>
                <a:lnTo>
                  <a:pt x="1197" y="8213"/>
                </a:lnTo>
                <a:lnTo>
                  <a:pt x="1186" y="8208"/>
                </a:lnTo>
                <a:lnTo>
                  <a:pt x="1174" y="8201"/>
                </a:lnTo>
                <a:lnTo>
                  <a:pt x="1163" y="8194"/>
                </a:lnTo>
                <a:lnTo>
                  <a:pt x="1152" y="8187"/>
                </a:lnTo>
                <a:lnTo>
                  <a:pt x="1141" y="8177"/>
                </a:lnTo>
                <a:lnTo>
                  <a:pt x="1131" y="8168"/>
                </a:lnTo>
                <a:lnTo>
                  <a:pt x="813" y="7850"/>
                </a:lnTo>
                <a:lnTo>
                  <a:pt x="813" y="7850"/>
                </a:lnTo>
                <a:lnTo>
                  <a:pt x="797" y="7832"/>
                </a:lnTo>
                <a:lnTo>
                  <a:pt x="782" y="7814"/>
                </a:lnTo>
                <a:lnTo>
                  <a:pt x="770" y="7795"/>
                </a:lnTo>
                <a:lnTo>
                  <a:pt x="760" y="7774"/>
                </a:lnTo>
                <a:lnTo>
                  <a:pt x="750" y="7754"/>
                </a:lnTo>
                <a:lnTo>
                  <a:pt x="742" y="7733"/>
                </a:lnTo>
                <a:lnTo>
                  <a:pt x="734" y="7712"/>
                </a:lnTo>
                <a:lnTo>
                  <a:pt x="730" y="7690"/>
                </a:lnTo>
                <a:lnTo>
                  <a:pt x="726" y="7667"/>
                </a:lnTo>
                <a:lnTo>
                  <a:pt x="723" y="7644"/>
                </a:lnTo>
                <a:lnTo>
                  <a:pt x="722" y="7622"/>
                </a:lnTo>
                <a:lnTo>
                  <a:pt x="722" y="7598"/>
                </a:lnTo>
                <a:lnTo>
                  <a:pt x="723" y="7574"/>
                </a:lnTo>
                <a:lnTo>
                  <a:pt x="725" y="7550"/>
                </a:lnTo>
                <a:lnTo>
                  <a:pt x="727" y="7526"/>
                </a:lnTo>
                <a:lnTo>
                  <a:pt x="730" y="7502"/>
                </a:lnTo>
                <a:lnTo>
                  <a:pt x="740" y="7454"/>
                </a:lnTo>
                <a:lnTo>
                  <a:pt x="753" y="7406"/>
                </a:lnTo>
                <a:lnTo>
                  <a:pt x="767" y="7360"/>
                </a:lnTo>
                <a:lnTo>
                  <a:pt x="784" y="7313"/>
                </a:lnTo>
                <a:lnTo>
                  <a:pt x="801" y="7269"/>
                </a:lnTo>
                <a:lnTo>
                  <a:pt x="819" y="7226"/>
                </a:lnTo>
                <a:lnTo>
                  <a:pt x="837" y="7185"/>
                </a:lnTo>
                <a:lnTo>
                  <a:pt x="856" y="7147"/>
                </a:lnTo>
                <a:lnTo>
                  <a:pt x="856" y="7147"/>
                </a:lnTo>
                <a:lnTo>
                  <a:pt x="885" y="7090"/>
                </a:lnTo>
                <a:lnTo>
                  <a:pt x="915" y="7034"/>
                </a:lnTo>
                <a:lnTo>
                  <a:pt x="947" y="6977"/>
                </a:lnTo>
                <a:lnTo>
                  <a:pt x="980" y="6922"/>
                </a:lnTo>
                <a:lnTo>
                  <a:pt x="1015" y="6869"/>
                </a:lnTo>
                <a:lnTo>
                  <a:pt x="1050" y="6815"/>
                </a:lnTo>
                <a:lnTo>
                  <a:pt x="1087" y="6762"/>
                </a:lnTo>
                <a:lnTo>
                  <a:pt x="1125" y="6710"/>
                </a:lnTo>
                <a:lnTo>
                  <a:pt x="1164" y="6657"/>
                </a:lnTo>
                <a:lnTo>
                  <a:pt x="1205" y="6607"/>
                </a:lnTo>
                <a:lnTo>
                  <a:pt x="1246" y="6557"/>
                </a:lnTo>
                <a:lnTo>
                  <a:pt x="1289" y="6508"/>
                </a:lnTo>
                <a:lnTo>
                  <a:pt x="1331" y="6460"/>
                </a:lnTo>
                <a:lnTo>
                  <a:pt x="1375" y="6412"/>
                </a:lnTo>
                <a:lnTo>
                  <a:pt x="1418" y="6365"/>
                </a:lnTo>
                <a:lnTo>
                  <a:pt x="1462" y="6320"/>
                </a:lnTo>
                <a:close/>
                <a:moveTo>
                  <a:pt x="2234" y="7093"/>
                </a:moveTo>
                <a:lnTo>
                  <a:pt x="2234" y="7093"/>
                </a:lnTo>
                <a:lnTo>
                  <a:pt x="2274" y="7052"/>
                </a:lnTo>
                <a:lnTo>
                  <a:pt x="2315" y="7010"/>
                </a:lnTo>
                <a:lnTo>
                  <a:pt x="2354" y="6966"/>
                </a:lnTo>
                <a:lnTo>
                  <a:pt x="2395" y="6921"/>
                </a:lnTo>
                <a:lnTo>
                  <a:pt x="2435" y="6876"/>
                </a:lnTo>
                <a:lnTo>
                  <a:pt x="2473" y="6829"/>
                </a:lnTo>
                <a:lnTo>
                  <a:pt x="2511" y="6781"/>
                </a:lnTo>
                <a:lnTo>
                  <a:pt x="2549" y="6733"/>
                </a:lnTo>
                <a:lnTo>
                  <a:pt x="2584" y="6686"/>
                </a:lnTo>
                <a:lnTo>
                  <a:pt x="2619" y="6636"/>
                </a:lnTo>
                <a:lnTo>
                  <a:pt x="2653" y="6585"/>
                </a:lnTo>
                <a:lnTo>
                  <a:pt x="2686" y="6535"/>
                </a:lnTo>
                <a:lnTo>
                  <a:pt x="2717" y="6484"/>
                </a:lnTo>
                <a:lnTo>
                  <a:pt x="2746" y="6433"/>
                </a:lnTo>
                <a:lnTo>
                  <a:pt x="2773" y="6381"/>
                </a:lnTo>
                <a:lnTo>
                  <a:pt x="2798" y="6329"/>
                </a:lnTo>
                <a:lnTo>
                  <a:pt x="2798" y="6329"/>
                </a:lnTo>
                <a:lnTo>
                  <a:pt x="2822" y="6277"/>
                </a:lnTo>
                <a:lnTo>
                  <a:pt x="2834" y="6246"/>
                </a:lnTo>
                <a:lnTo>
                  <a:pt x="2846" y="6213"/>
                </a:lnTo>
                <a:lnTo>
                  <a:pt x="2858" y="6181"/>
                </a:lnTo>
                <a:lnTo>
                  <a:pt x="2867" y="6145"/>
                </a:lnTo>
                <a:lnTo>
                  <a:pt x="2877" y="6110"/>
                </a:lnTo>
                <a:lnTo>
                  <a:pt x="2884" y="6074"/>
                </a:lnTo>
                <a:lnTo>
                  <a:pt x="2890" y="6038"/>
                </a:lnTo>
                <a:lnTo>
                  <a:pt x="2893" y="6003"/>
                </a:lnTo>
                <a:lnTo>
                  <a:pt x="2893" y="5969"/>
                </a:lnTo>
                <a:lnTo>
                  <a:pt x="2891" y="5952"/>
                </a:lnTo>
                <a:lnTo>
                  <a:pt x="2889" y="5935"/>
                </a:lnTo>
                <a:lnTo>
                  <a:pt x="2886" y="5920"/>
                </a:lnTo>
                <a:lnTo>
                  <a:pt x="2882" y="5904"/>
                </a:lnTo>
                <a:lnTo>
                  <a:pt x="2877" y="5890"/>
                </a:lnTo>
                <a:lnTo>
                  <a:pt x="2870" y="5875"/>
                </a:lnTo>
                <a:lnTo>
                  <a:pt x="2863" y="5862"/>
                </a:lnTo>
                <a:lnTo>
                  <a:pt x="2856" y="5848"/>
                </a:lnTo>
                <a:lnTo>
                  <a:pt x="2846" y="5837"/>
                </a:lnTo>
                <a:lnTo>
                  <a:pt x="2835" y="5824"/>
                </a:lnTo>
                <a:lnTo>
                  <a:pt x="2835" y="5824"/>
                </a:lnTo>
                <a:lnTo>
                  <a:pt x="2824" y="5814"/>
                </a:lnTo>
                <a:lnTo>
                  <a:pt x="2811" y="5804"/>
                </a:lnTo>
                <a:lnTo>
                  <a:pt x="2798" y="5796"/>
                </a:lnTo>
                <a:lnTo>
                  <a:pt x="2784" y="5789"/>
                </a:lnTo>
                <a:lnTo>
                  <a:pt x="2770" y="5783"/>
                </a:lnTo>
                <a:lnTo>
                  <a:pt x="2756" y="5779"/>
                </a:lnTo>
                <a:lnTo>
                  <a:pt x="2741" y="5775"/>
                </a:lnTo>
                <a:lnTo>
                  <a:pt x="2724" y="5772"/>
                </a:lnTo>
                <a:lnTo>
                  <a:pt x="2708" y="5769"/>
                </a:lnTo>
                <a:lnTo>
                  <a:pt x="2691" y="5768"/>
                </a:lnTo>
                <a:lnTo>
                  <a:pt x="2657" y="5768"/>
                </a:lnTo>
                <a:lnTo>
                  <a:pt x="2622" y="5770"/>
                </a:lnTo>
                <a:lnTo>
                  <a:pt x="2586" y="5776"/>
                </a:lnTo>
                <a:lnTo>
                  <a:pt x="2550" y="5783"/>
                </a:lnTo>
                <a:lnTo>
                  <a:pt x="2515" y="5793"/>
                </a:lnTo>
                <a:lnTo>
                  <a:pt x="2480" y="5803"/>
                </a:lnTo>
                <a:lnTo>
                  <a:pt x="2446" y="5814"/>
                </a:lnTo>
                <a:lnTo>
                  <a:pt x="2415" y="5825"/>
                </a:lnTo>
                <a:lnTo>
                  <a:pt x="2384" y="5838"/>
                </a:lnTo>
                <a:lnTo>
                  <a:pt x="2332" y="5862"/>
                </a:lnTo>
                <a:lnTo>
                  <a:pt x="2332" y="5862"/>
                </a:lnTo>
                <a:lnTo>
                  <a:pt x="2280" y="5887"/>
                </a:lnTo>
                <a:lnTo>
                  <a:pt x="2227" y="5914"/>
                </a:lnTo>
                <a:lnTo>
                  <a:pt x="2177" y="5944"/>
                </a:lnTo>
                <a:lnTo>
                  <a:pt x="2126" y="5975"/>
                </a:lnTo>
                <a:lnTo>
                  <a:pt x="2075" y="6007"/>
                </a:lnTo>
                <a:lnTo>
                  <a:pt x="2024" y="6041"/>
                </a:lnTo>
                <a:lnTo>
                  <a:pt x="1975" y="6076"/>
                </a:lnTo>
                <a:lnTo>
                  <a:pt x="1927" y="6112"/>
                </a:lnTo>
                <a:lnTo>
                  <a:pt x="1878" y="6150"/>
                </a:lnTo>
                <a:lnTo>
                  <a:pt x="1831" y="6188"/>
                </a:lnTo>
                <a:lnTo>
                  <a:pt x="1785" y="6226"/>
                </a:lnTo>
                <a:lnTo>
                  <a:pt x="1740" y="6265"/>
                </a:lnTo>
                <a:lnTo>
                  <a:pt x="1695" y="6305"/>
                </a:lnTo>
                <a:lnTo>
                  <a:pt x="1651" y="6346"/>
                </a:lnTo>
                <a:lnTo>
                  <a:pt x="1609" y="6387"/>
                </a:lnTo>
                <a:lnTo>
                  <a:pt x="1568" y="6426"/>
                </a:lnTo>
                <a:lnTo>
                  <a:pt x="1568" y="6426"/>
                </a:lnTo>
                <a:lnTo>
                  <a:pt x="1528" y="6467"/>
                </a:lnTo>
                <a:lnTo>
                  <a:pt x="1487" y="6509"/>
                </a:lnTo>
                <a:lnTo>
                  <a:pt x="1446" y="6553"/>
                </a:lnTo>
                <a:lnTo>
                  <a:pt x="1407" y="6598"/>
                </a:lnTo>
                <a:lnTo>
                  <a:pt x="1367" y="6643"/>
                </a:lnTo>
                <a:lnTo>
                  <a:pt x="1329" y="6690"/>
                </a:lnTo>
                <a:lnTo>
                  <a:pt x="1291" y="6736"/>
                </a:lnTo>
                <a:lnTo>
                  <a:pt x="1253" y="6786"/>
                </a:lnTo>
                <a:lnTo>
                  <a:pt x="1218" y="6834"/>
                </a:lnTo>
                <a:lnTo>
                  <a:pt x="1183" y="6883"/>
                </a:lnTo>
                <a:lnTo>
                  <a:pt x="1149" y="6934"/>
                </a:lnTo>
                <a:lnTo>
                  <a:pt x="1117" y="6984"/>
                </a:lnTo>
                <a:lnTo>
                  <a:pt x="1086" y="7035"/>
                </a:lnTo>
                <a:lnTo>
                  <a:pt x="1056" y="7086"/>
                </a:lnTo>
                <a:lnTo>
                  <a:pt x="1029" y="7138"/>
                </a:lnTo>
                <a:lnTo>
                  <a:pt x="1004" y="7190"/>
                </a:lnTo>
                <a:lnTo>
                  <a:pt x="1004" y="7190"/>
                </a:lnTo>
                <a:lnTo>
                  <a:pt x="980" y="7243"/>
                </a:lnTo>
                <a:lnTo>
                  <a:pt x="967" y="7274"/>
                </a:lnTo>
                <a:lnTo>
                  <a:pt x="956" y="7306"/>
                </a:lnTo>
                <a:lnTo>
                  <a:pt x="945" y="7338"/>
                </a:lnTo>
                <a:lnTo>
                  <a:pt x="933" y="7374"/>
                </a:lnTo>
                <a:lnTo>
                  <a:pt x="925" y="7409"/>
                </a:lnTo>
                <a:lnTo>
                  <a:pt x="918" y="7444"/>
                </a:lnTo>
                <a:lnTo>
                  <a:pt x="912" y="7481"/>
                </a:lnTo>
                <a:lnTo>
                  <a:pt x="909" y="7516"/>
                </a:lnTo>
                <a:lnTo>
                  <a:pt x="909" y="7550"/>
                </a:lnTo>
                <a:lnTo>
                  <a:pt x="911" y="7567"/>
                </a:lnTo>
                <a:lnTo>
                  <a:pt x="914" y="7582"/>
                </a:lnTo>
                <a:lnTo>
                  <a:pt x="916" y="7599"/>
                </a:lnTo>
                <a:lnTo>
                  <a:pt x="921" y="7615"/>
                </a:lnTo>
                <a:lnTo>
                  <a:pt x="925" y="7629"/>
                </a:lnTo>
                <a:lnTo>
                  <a:pt x="930" y="7644"/>
                </a:lnTo>
                <a:lnTo>
                  <a:pt x="937" y="7657"/>
                </a:lnTo>
                <a:lnTo>
                  <a:pt x="946" y="7671"/>
                </a:lnTo>
                <a:lnTo>
                  <a:pt x="956" y="7683"/>
                </a:lnTo>
                <a:lnTo>
                  <a:pt x="966" y="7695"/>
                </a:lnTo>
                <a:lnTo>
                  <a:pt x="966" y="7695"/>
                </a:lnTo>
                <a:lnTo>
                  <a:pt x="978" y="7705"/>
                </a:lnTo>
                <a:lnTo>
                  <a:pt x="990" y="7715"/>
                </a:lnTo>
                <a:lnTo>
                  <a:pt x="1004" y="7723"/>
                </a:lnTo>
                <a:lnTo>
                  <a:pt x="1016" y="7730"/>
                </a:lnTo>
                <a:lnTo>
                  <a:pt x="1032" y="7736"/>
                </a:lnTo>
                <a:lnTo>
                  <a:pt x="1046" y="7740"/>
                </a:lnTo>
                <a:lnTo>
                  <a:pt x="1062" y="7745"/>
                </a:lnTo>
                <a:lnTo>
                  <a:pt x="1077" y="7747"/>
                </a:lnTo>
                <a:lnTo>
                  <a:pt x="1094" y="7750"/>
                </a:lnTo>
                <a:lnTo>
                  <a:pt x="1111" y="7752"/>
                </a:lnTo>
                <a:lnTo>
                  <a:pt x="1145" y="7752"/>
                </a:lnTo>
                <a:lnTo>
                  <a:pt x="1180" y="7749"/>
                </a:lnTo>
                <a:lnTo>
                  <a:pt x="1215" y="7743"/>
                </a:lnTo>
                <a:lnTo>
                  <a:pt x="1252" y="7736"/>
                </a:lnTo>
                <a:lnTo>
                  <a:pt x="1287" y="7726"/>
                </a:lnTo>
                <a:lnTo>
                  <a:pt x="1321" y="7716"/>
                </a:lnTo>
                <a:lnTo>
                  <a:pt x="1355" y="7705"/>
                </a:lnTo>
                <a:lnTo>
                  <a:pt x="1387" y="7692"/>
                </a:lnTo>
                <a:lnTo>
                  <a:pt x="1417" y="7681"/>
                </a:lnTo>
                <a:lnTo>
                  <a:pt x="1470" y="7657"/>
                </a:lnTo>
                <a:lnTo>
                  <a:pt x="1470" y="7657"/>
                </a:lnTo>
                <a:lnTo>
                  <a:pt x="1523" y="7632"/>
                </a:lnTo>
                <a:lnTo>
                  <a:pt x="1573" y="7605"/>
                </a:lnTo>
                <a:lnTo>
                  <a:pt x="1625" y="7575"/>
                </a:lnTo>
                <a:lnTo>
                  <a:pt x="1676" y="7544"/>
                </a:lnTo>
                <a:lnTo>
                  <a:pt x="1727" y="7512"/>
                </a:lnTo>
                <a:lnTo>
                  <a:pt x="1776" y="7478"/>
                </a:lnTo>
                <a:lnTo>
                  <a:pt x="1827" y="7443"/>
                </a:lnTo>
                <a:lnTo>
                  <a:pt x="1875" y="7408"/>
                </a:lnTo>
                <a:lnTo>
                  <a:pt x="1923" y="7369"/>
                </a:lnTo>
                <a:lnTo>
                  <a:pt x="1971" y="7331"/>
                </a:lnTo>
                <a:lnTo>
                  <a:pt x="2017" y="7293"/>
                </a:lnTo>
                <a:lnTo>
                  <a:pt x="2062" y="7254"/>
                </a:lnTo>
                <a:lnTo>
                  <a:pt x="2108" y="7213"/>
                </a:lnTo>
                <a:lnTo>
                  <a:pt x="2150" y="7173"/>
                </a:lnTo>
                <a:lnTo>
                  <a:pt x="2192" y="7133"/>
                </a:lnTo>
                <a:lnTo>
                  <a:pt x="2234" y="7093"/>
                </a:lnTo>
                <a:close/>
                <a:moveTo>
                  <a:pt x="5625" y="7807"/>
                </a:moveTo>
                <a:lnTo>
                  <a:pt x="5625" y="7807"/>
                </a:lnTo>
                <a:lnTo>
                  <a:pt x="5574" y="7838"/>
                </a:lnTo>
                <a:lnTo>
                  <a:pt x="5522" y="7867"/>
                </a:lnTo>
                <a:lnTo>
                  <a:pt x="5469" y="7895"/>
                </a:lnTo>
                <a:lnTo>
                  <a:pt x="5414" y="7922"/>
                </a:lnTo>
                <a:lnTo>
                  <a:pt x="5357" y="7948"/>
                </a:lnTo>
                <a:lnTo>
                  <a:pt x="5299" y="7973"/>
                </a:lnTo>
                <a:lnTo>
                  <a:pt x="5242" y="7996"/>
                </a:lnTo>
                <a:lnTo>
                  <a:pt x="5182" y="8018"/>
                </a:lnTo>
                <a:lnTo>
                  <a:pt x="5122" y="8039"/>
                </a:lnTo>
                <a:lnTo>
                  <a:pt x="5061" y="8059"/>
                </a:lnTo>
                <a:lnTo>
                  <a:pt x="5000" y="8079"/>
                </a:lnTo>
                <a:lnTo>
                  <a:pt x="4938" y="8096"/>
                </a:lnTo>
                <a:lnTo>
                  <a:pt x="4875" y="8113"/>
                </a:lnTo>
                <a:lnTo>
                  <a:pt x="4813" y="8128"/>
                </a:lnTo>
                <a:lnTo>
                  <a:pt x="4750" y="8144"/>
                </a:lnTo>
                <a:lnTo>
                  <a:pt x="4686" y="8156"/>
                </a:lnTo>
                <a:lnTo>
                  <a:pt x="4621" y="8169"/>
                </a:lnTo>
                <a:lnTo>
                  <a:pt x="4558" y="8182"/>
                </a:lnTo>
                <a:lnTo>
                  <a:pt x="4494" y="8192"/>
                </a:lnTo>
                <a:lnTo>
                  <a:pt x="4430" y="8201"/>
                </a:lnTo>
                <a:lnTo>
                  <a:pt x="4366" y="8211"/>
                </a:lnTo>
                <a:lnTo>
                  <a:pt x="4303" y="8220"/>
                </a:lnTo>
                <a:lnTo>
                  <a:pt x="4176" y="8232"/>
                </a:lnTo>
                <a:lnTo>
                  <a:pt x="4052" y="8244"/>
                </a:lnTo>
                <a:lnTo>
                  <a:pt x="3929" y="8251"/>
                </a:lnTo>
                <a:lnTo>
                  <a:pt x="3811" y="8255"/>
                </a:lnTo>
                <a:lnTo>
                  <a:pt x="3694" y="8256"/>
                </a:lnTo>
                <a:lnTo>
                  <a:pt x="3694" y="8256"/>
                </a:lnTo>
                <a:lnTo>
                  <a:pt x="3602" y="8255"/>
                </a:lnTo>
                <a:lnTo>
                  <a:pt x="3508" y="8252"/>
                </a:lnTo>
                <a:lnTo>
                  <a:pt x="3410" y="8248"/>
                </a:lnTo>
                <a:lnTo>
                  <a:pt x="3312" y="8241"/>
                </a:lnTo>
                <a:lnTo>
                  <a:pt x="3211" y="8232"/>
                </a:lnTo>
                <a:lnTo>
                  <a:pt x="3111" y="8223"/>
                </a:lnTo>
                <a:lnTo>
                  <a:pt x="3008" y="8210"/>
                </a:lnTo>
                <a:lnTo>
                  <a:pt x="2907" y="8194"/>
                </a:lnTo>
                <a:lnTo>
                  <a:pt x="2804" y="8176"/>
                </a:lnTo>
                <a:lnTo>
                  <a:pt x="2703" y="8156"/>
                </a:lnTo>
                <a:lnTo>
                  <a:pt x="2600" y="8134"/>
                </a:lnTo>
                <a:lnTo>
                  <a:pt x="2500" y="8110"/>
                </a:lnTo>
                <a:lnTo>
                  <a:pt x="2399" y="8082"/>
                </a:lnTo>
                <a:lnTo>
                  <a:pt x="2301" y="8051"/>
                </a:lnTo>
                <a:lnTo>
                  <a:pt x="2253" y="8035"/>
                </a:lnTo>
                <a:lnTo>
                  <a:pt x="2205" y="8018"/>
                </a:lnTo>
                <a:lnTo>
                  <a:pt x="2157" y="8000"/>
                </a:lnTo>
                <a:lnTo>
                  <a:pt x="2110" y="7981"/>
                </a:lnTo>
                <a:lnTo>
                  <a:pt x="2110" y="7981"/>
                </a:lnTo>
                <a:lnTo>
                  <a:pt x="2188" y="7929"/>
                </a:lnTo>
                <a:lnTo>
                  <a:pt x="2264" y="7874"/>
                </a:lnTo>
                <a:lnTo>
                  <a:pt x="2337" y="7818"/>
                </a:lnTo>
                <a:lnTo>
                  <a:pt x="2408" y="7760"/>
                </a:lnTo>
                <a:lnTo>
                  <a:pt x="2477" y="7702"/>
                </a:lnTo>
                <a:lnTo>
                  <a:pt x="2543" y="7643"/>
                </a:lnTo>
                <a:lnTo>
                  <a:pt x="2607" y="7585"/>
                </a:lnTo>
                <a:lnTo>
                  <a:pt x="2667" y="7526"/>
                </a:lnTo>
                <a:lnTo>
                  <a:pt x="2667" y="7526"/>
                </a:lnTo>
                <a:lnTo>
                  <a:pt x="2712" y="7478"/>
                </a:lnTo>
                <a:lnTo>
                  <a:pt x="2759" y="7430"/>
                </a:lnTo>
                <a:lnTo>
                  <a:pt x="2759" y="7430"/>
                </a:lnTo>
                <a:lnTo>
                  <a:pt x="2817" y="7441"/>
                </a:lnTo>
                <a:lnTo>
                  <a:pt x="2876" y="7453"/>
                </a:lnTo>
                <a:lnTo>
                  <a:pt x="2935" y="7461"/>
                </a:lnTo>
                <a:lnTo>
                  <a:pt x="2993" y="7471"/>
                </a:lnTo>
                <a:lnTo>
                  <a:pt x="3111" y="7486"/>
                </a:lnTo>
                <a:lnTo>
                  <a:pt x="3230" y="7498"/>
                </a:lnTo>
                <a:lnTo>
                  <a:pt x="3348" y="7508"/>
                </a:lnTo>
                <a:lnTo>
                  <a:pt x="3465" y="7513"/>
                </a:lnTo>
                <a:lnTo>
                  <a:pt x="3581" y="7518"/>
                </a:lnTo>
                <a:lnTo>
                  <a:pt x="3694" y="7519"/>
                </a:lnTo>
                <a:lnTo>
                  <a:pt x="3694" y="7519"/>
                </a:lnTo>
                <a:lnTo>
                  <a:pt x="3777" y="7518"/>
                </a:lnTo>
                <a:lnTo>
                  <a:pt x="3861" y="7516"/>
                </a:lnTo>
                <a:lnTo>
                  <a:pt x="3945" y="7513"/>
                </a:lnTo>
                <a:lnTo>
                  <a:pt x="4029" y="7509"/>
                </a:lnTo>
                <a:lnTo>
                  <a:pt x="4115" y="7502"/>
                </a:lnTo>
                <a:lnTo>
                  <a:pt x="4200" y="7495"/>
                </a:lnTo>
                <a:lnTo>
                  <a:pt x="4284" y="7485"/>
                </a:lnTo>
                <a:lnTo>
                  <a:pt x="4369" y="7475"/>
                </a:lnTo>
                <a:lnTo>
                  <a:pt x="4453" y="7463"/>
                </a:lnTo>
                <a:lnTo>
                  <a:pt x="4538" y="7448"/>
                </a:lnTo>
                <a:lnTo>
                  <a:pt x="4623" y="7431"/>
                </a:lnTo>
                <a:lnTo>
                  <a:pt x="4704" y="7413"/>
                </a:lnTo>
                <a:lnTo>
                  <a:pt x="4788" y="7392"/>
                </a:lnTo>
                <a:lnTo>
                  <a:pt x="4868" y="7371"/>
                </a:lnTo>
                <a:lnTo>
                  <a:pt x="4948" y="7345"/>
                </a:lnTo>
                <a:lnTo>
                  <a:pt x="5026" y="7319"/>
                </a:lnTo>
                <a:lnTo>
                  <a:pt x="5026" y="7319"/>
                </a:lnTo>
                <a:lnTo>
                  <a:pt x="5108" y="7316"/>
                </a:lnTo>
                <a:lnTo>
                  <a:pt x="5191" y="7313"/>
                </a:lnTo>
                <a:lnTo>
                  <a:pt x="5191" y="7313"/>
                </a:lnTo>
                <a:lnTo>
                  <a:pt x="5242" y="7381"/>
                </a:lnTo>
                <a:lnTo>
                  <a:pt x="5295" y="7447"/>
                </a:lnTo>
                <a:lnTo>
                  <a:pt x="5349" y="7510"/>
                </a:lnTo>
                <a:lnTo>
                  <a:pt x="5404" y="7574"/>
                </a:lnTo>
                <a:lnTo>
                  <a:pt x="5459" y="7635"/>
                </a:lnTo>
                <a:lnTo>
                  <a:pt x="5514" y="7694"/>
                </a:lnTo>
                <a:lnTo>
                  <a:pt x="5570" y="7752"/>
                </a:lnTo>
                <a:lnTo>
                  <a:pt x="5625" y="7807"/>
                </a:lnTo>
                <a:close/>
                <a:moveTo>
                  <a:pt x="5951" y="4892"/>
                </a:moveTo>
                <a:lnTo>
                  <a:pt x="5951" y="5397"/>
                </a:lnTo>
                <a:lnTo>
                  <a:pt x="5951" y="5397"/>
                </a:lnTo>
                <a:lnTo>
                  <a:pt x="5949" y="5415"/>
                </a:lnTo>
                <a:lnTo>
                  <a:pt x="5948" y="5432"/>
                </a:lnTo>
                <a:lnTo>
                  <a:pt x="5945" y="5449"/>
                </a:lnTo>
                <a:lnTo>
                  <a:pt x="5942" y="5464"/>
                </a:lnTo>
                <a:lnTo>
                  <a:pt x="5937" y="5480"/>
                </a:lnTo>
                <a:lnTo>
                  <a:pt x="5931" y="5494"/>
                </a:lnTo>
                <a:lnTo>
                  <a:pt x="5925" y="5507"/>
                </a:lnTo>
                <a:lnTo>
                  <a:pt x="5917" y="5519"/>
                </a:lnTo>
                <a:lnTo>
                  <a:pt x="5917" y="5519"/>
                </a:lnTo>
                <a:lnTo>
                  <a:pt x="5867" y="5502"/>
                </a:lnTo>
                <a:lnTo>
                  <a:pt x="5818" y="5488"/>
                </a:lnTo>
                <a:lnTo>
                  <a:pt x="5767" y="5474"/>
                </a:lnTo>
                <a:lnTo>
                  <a:pt x="5717" y="5463"/>
                </a:lnTo>
                <a:lnTo>
                  <a:pt x="5664" y="5454"/>
                </a:lnTo>
                <a:lnTo>
                  <a:pt x="5614" y="5449"/>
                </a:lnTo>
                <a:lnTo>
                  <a:pt x="5563" y="5445"/>
                </a:lnTo>
                <a:lnTo>
                  <a:pt x="5538" y="5445"/>
                </a:lnTo>
                <a:lnTo>
                  <a:pt x="5512" y="5445"/>
                </a:lnTo>
                <a:lnTo>
                  <a:pt x="5487" y="5446"/>
                </a:lnTo>
                <a:lnTo>
                  <a:pt x="5463" y="5447"/>
                </a:lnTo>
                <a:lnTo>
                  <a:pt x="5437" y="5452"/>
                </a:lnTo>
                <a:lnTo>
                  <a:pt x="5414" y="5456"/>
                </a:lnTo>
                <a:lnTo>
                  <a:pt x="5390" y="5460"/>
                </a:lnTo>
                <a:lnTo>
                  <a:pt x="5366" y="5467"/>
                </a:lnTo>
                <a:lnTo>
                  <a:pt x="5342" y="5474"/>
                </a:lnTo>
                <a:lnTo>
                  <a:pt x="5319" y="5483"/>
                </a:lnTo>
                <a:lnTo>
                  <a:pt x="5297" y="5491"/>
                </a:lnTo>
                <a:lnTo>
                  <a:pt x="5274" y="5502"/>
                </a:lnTo>
                <a:lnTo>
                  <a:pt x="5253" y="5515"/>
                </a:lnTo>
                <a:lnTo>
                  <a:pt x="5232" y="5528"/>
                </a:lnTo>
                <a:lnTo>
                  <a:pt x="5211" y="5543"/>
                </a:lnTo>
                <a:lnTo>
                  <a:pt x="5189" y="5559"/>
                </a:lnTo>
                <a:lnTo>
                  <a:pt x="5170" y="5576"/>
                </a:lnTo>
                <a:lnTo>
                  <a:pt x="5150" y="5595"/>
                </a:lnTo>
                <a:lnTo>
                  <a:pt x="4790" y="5978"/>
                </a:lnTo>
                <a:lnTo>
                  <a:pt x="4790" y="5978"/>
                </a:lnTo>
                <a:lnTo>
                  <a:pt x="4709" y="5989"/>
                </a:lnTo>
                <a:lnTo>
                  <a:pt x="4628" y="5999"/>
                </a:lnTo>
                <a:lnTo>
                  <a:pt x="4547" y="6007"/>
                </a:lnTo>
                <a:lnTo>
                  <a:pt x="4468" y="6014"/>
                </a:lnTo>
                <a:lnTo>
                  <a:pt x="4389" y="6020"/>
                </a:lnTo>
                <a:lnTo>
                  <a:pt x="4311" y="6023"/>
                </a:lnTo>
                <a:lnTo>
                  <a:pt x="4236" y="6026"/>
                </a:lnTo>
                <a:lnTo>
                  <a:pt x="4162" y="6026"/>
                </a:lnTo>
                <a:lnTo>
                  <a:pt x="4162" y="6026"/>
                </a:lnTo>
                <a:lnTo>
                  <a:pt x="4073" y="6024"/>
                </a:lnTo>
                <a:lnTo>
                  <a:pt x="3981" y="6021"/>
                </a:lnTo>
                <a:lnTo>
                  <a:pt x="3888" y="6017"/>
                </a:lnTo>
                <a:lnTo>
                  <a:pt x="3792" y="6009"/>
                </a:lnTo>
                <a:lnTo>
                  <a:pt x="3695" y="5999"/>
                </a:lnTo>
                <a:lnTo>
                  <a:pt x="3596" y="5988"/>
                </a:lnTo>
                <a:lnTo>
                  <a:pt x="3499" y="5972"/>
                </a:lnTo>
                <a:lnTo>
                  <a:pt x="3400" y="5955"/>
                </a:lnTo>
                <a:lnTo>
                  <a:pt x="3400" y="5955"/>
                </a:lnTo>
                <a:lnTo>
                  <a:pt x="3388" y="5940"/>
                </a:lnTo>
                <a:lnTo>
                  <a:pt x="3374" y="5924"/>
                </a:lnTo>
                <a:lnTo>
                  <a:pt x="3055" y="5607"/>
                </a:lnTo>
                <a:lnTo>
                  <a:pt x="3055" y="5607"/>
                </a:lnTo>
                <a:lnTo>
                  <a:pt x="3039" y="5591"/>
                </a:lnTo>
                <a:lnTo>
                  <a:pt x="3023" y="5579"/>
                </a:lnTo>
                <a:lnTo>
                  <a:pt x="3006" y="5566"/>
                </a:lnTo>
                <a:lnTo>
                  <a:pt x="2989" y="5553"/>
                </a:lnTo>
                <a:lnTo>
                  <a:pt x="2972" y="5543"/>
                </a:lnTo>
                <a:lnTo>
                  <a:pt x="2953" y="5533"/>
                </a:lnTo>
                <a:lnTo>
                  <a:pt x="2935" y="5525"/>
                </a:lnTo>
                <a:lnTo>
                  <a:pt x="2917" y="5518"/>
                </a:lnTo>
                <a:lnTo>
                  <a:pt x="2898" y="5511"/>
                </a:lnTo>
                <a:lnTo>
                  <a:pt x="2879" y="5505"/>
                </a:lnTo>
                <a:lnTo>
                  <a:pt x="2859" y="5501"/>
                </a:lnTo>
                <a:lnTo>
                  <a:pt x="2841" y="5497"/>
                </a:lnTo>
                <a:lnTo>
                  <a:pt x="2801" y="5491"/>
                </a:lnTo>
                <a:lnTo>
                  <a:pt x="2760" y="5488"/>
                </a:lnTo>
                <a:lnTo>
                  <a:pt x="2719" y="5490"/>
                </a:lnTo>
                <a:lnTo>
                  <a:pt x="2679" y="5493"/>
                </a:lnTo>
                <a:lnTo>
                  <a:pt x="2638" y="5498"/>
                </a:lnTo>
                <a:lnTo>
                  <a:pt x="2597" y="5505"/>
                </a:lnTo>
                <a:lnTo>
                  <a:pt x="2555" y="5515"/>
                </a:lnTo>
                <a:lnTo>
                  <a:pt x="2515" y="5526"/>
                </a:lnTo>
                <a:lnTo>
                  <a:pt x="2474" y="5539"/>
                </a:lnTo>
                <a:lnTo>
                  <a:pt x="2435" y="5552"/>
                </a:lnTo>
                <a:lnTo>
                  <a:pt x="2435" y="5552"/>
                </a:lnTo>
                <a:lnTo>
                  <a:pt x="2421" y="5536"/>
                </a:lnTo>
                <a:lnTo>
                  <a:pt x="2408" y="5521"/>
                </a:lnTo>
                <a:lnTo>
                  <a:pt x="2398" y="5502"/>
                </a:lnTo>
                <a:lnTo>
                  <a:pt x="2390" y="5484"/>
                </a:lnTo>
                <a:lnTo>
                  <a:pt x="2383" y="5464"/>
                </a:lnTo>
                <a:lnTo>
                  <a:pt x="2378" y="5443"/>
                </a:lnTo>
                <a:lnTo>
                  <a:pt x="2375" y="5421"/>
                </a:lnTo>
                <a:lnTo>
                  <a:pt x="2374" y="5397"/>
                </a:lnTo>
                <a:lnTo>
                  <a:pt x="2374" y="4876"/>
                </a:lnTo>
                <a:lnTo>
                  <a:pt x="2374" y="4876"/>
                </a:lnTo>
                <a:lnTo>
                  <a:pt x="2375" y="4848"/>
                </a:lnTo>
                <a:lnTo>
                  <a:pt x="2380" y="4821"/>
                </a:lnTo>
                <a:lnTo>
                  <a:pt x="2385" y="4795"/>
                </a:lnTo>
                <a:lnTo>
                  <a:pt x="2392" y="4769"/>
                </a:lnTo>
                <a:lnTo>
                  <a:pt x="2401" y="4745"/>
                </a:lnTo>
                <a:lnTo>
                  <a:pt x="2412" y="4721"/>
                </a:lnTo>
                <a:lnTo>
                  <a:pt x="2425" y="4699"/>
                </a:lnTo>
                <a:lnTo>
                  <a:pt x="2437" y="4676"/>
                </a:lnTo>
                <a:lnTo>
                  <a:pt x="2453" y="4655"/>
                </a:lnTo>
                <a:lnTo>
                  <a:pt x="2470" y="4634"/>
                </a:lnTo>
                <a:lnTo>
                  <a:pt x="2488" y="4613"/>
                </a:lnTo>
                <a:lnTo>
                  <a:pt x="2507" y="4594"/>
                </a:lnTo>
                <a:lnTo>
                  <a:pt x="2526" y="4575"/>
                </a:lnTo>
                <a:lnTo>
                  <a:pt x="2547" y="4558"/>
                </a:lnTo>
                <a:lnTo>
                  <a:pt x="2570" y="4539"/>
                </a:lnTo>
                <a:lnTo>
                  <a:pt x="2593" y="4522"/>
                </a:lnTo>
                <a:lnTo>
                  <a:pt x="2615" y="4507"/>
                </a:lnTo>
                <a:lnTo>
                  <a:pt x="2639" y="4491"/>
                </a:lnTo>
                <a:lnTo>
                  <a:pt x="2688" y="4462"/>
                </a:lnTo>
                <a:lnTo>
                  <a:pt x="2739" y="4435"/>
                </a:lnTo>
                <a:lnTo>
                  <a:pt x="2790" y="4411"/>
                </a:lnTo>
                <a:lnTo>
                  <a:pt x="2842" y="4388"/>
                </a:lnTo>
                <a:lnTo>
                  <a:pt x="2891" y="4369"/>
                </a:lnTo>
                <a:lnTo>
                  <a:pt x="2941" y="4350"/>
                </a:lnTo>
                <a:lnTo>
                  <a:pt x="2987" y="4333"/>
                </a:lnTo>
                <a:lnTo>
                  <a:pt x="2987" y="4333"/>
                </a:lnTo>
                <a:lnTo>
                  <a:pt x="3052" y="4312"/>
                </a:lnTo>
                <a:lnTo>
                  <a:pt x="3118" y="4293"/>
                </a:lnTo>
                <a:lnTo>
                  <a:pt x="3186" y="4273"/>
                </a:lnTo>
                <a:lnTo>
                  <a:pt x="3254" y="4256"/>
                </a:lnTo>
                <a:lnTo>
                  <a:pt x="3254" y="4434"/>
                </a:lnTo>
                <a:lnTo>
                  <a:pt x="3254" y="4434"/>
                </a:lnTo>
                <a:lnTo>
                  <a:pt x="3207" y="4446"/>
                </a:lnTo>
                <a:lnTo>
                  <a:pt x="3162" y="4460"/>
                </a:lnTo>
                <a:lnTo>
                  <a:pt x="3117" y="4474"/>
                </a:lnTo>
                <a:lnTo>
                  <a:pt x="3072" y="4490"/>
                </a:lnTo>
                <a:lnTo>
                  <a:pt x="3072" y="4490"/>
                </a:lnTo>
                <a:lnTo>
                  <a:pt x="3010" y="4514"/>
                </a:lnTo>
                <a:lnTo>
                  <a:pt x="2975" y="4529"/>
                </a:lnTo>
                <a:lnTo>
                  <a:pt x="2938" y="4546"/>
                </a:lnTo>
                <a:lnTo>
                  <a:pt x="2901" y="4565"/>
                </a:lnTo>
                <a:lnTo>
                  <a:pt x="2865" y="4584"/>
                </a:lnTo>
                <a:lnTo>
                  <a:pt x="2828" y="4606"/>
                </a:lnTo>
                <a:lnTo>
                  <a:pt x="2793" y="4630"/>
                </a:lnTo>
                <a:lnTo>
                  <a:pt x="2759" y="4654"/>
                </a:lnTo>
                <a:lnTo>
                  <a:pt x="2728" y="4680"/>
                </a:lnTo>
                <a:lnTo>
                  <a:pt x="2714" y="4694"/>
                </a:lnTo>
                <a:lnTo>
                  <a:pt x="2700" y="4708"/>
                </a:lnTo>
                <a:lnTo>
                  <a:pt x="2687" y="4724"/>
                </a:lnTo>
                <a:lnTo>
                  <a:pt x="2676" y="4738"/>
                </a:lnTo>
                <a:lnTo>
                  <a:pt x="2664" y="4754"/>
                </a:lnTo>
                <a:lnTo>
                  <a:pt x="2656" y="4771"/>
                </a:lnTo>
                <a:lnTo>
                  <a:pt x="2648" y="4786"/>
                </a:lnTo>
                <a:lnTo>
                  <a:pt x="2641" y="4803"/>
                </a:lnTo>
                <a:lnTo>
                  <a:pt x="2635" y="4820"/>
                </a:lnTo>
                <a:lnTo>
                  <a:pt x="2631" y="4838"/>
                </a:lnTo>
                <a:lnTo>
                  <a:pt x="2628" y="4855"/>
                </a:lnTo>
                <a:lnTo>
                  <a:pt x="2628" y="4873"/>
                </a:lnTo>
                <a:lnTo>
                  <a:pt x="2628" y="4873"/>
                </a:lnTo>
                <a:lnTo>
                  <a:pt x="2628" y="4892"/>
                </a:lnTo>
                <a:lnTo>
                  <a:pt x="2631" y="4910"/>
                </a:lnTo>
                <a:lnTo>
                  <a:pt x="2635" y="4927"/>
                </a:lnTo>
                <a:lnTo>
                  <a:pt x="2641" y="4944"/>
                </a:lnTo>
                <a:lnTo>
                  <a:pt x="2648" y="4961"/>
                </a:lnTo>
                <a:lnTo>
                  <a:pt x="2656" y="4978"/>
                </a:lnTo>
                <a:lnTo>
                  <a:pt x="2664" y="4993"/>
                </a:lnTo>
                <a:lnTo>
                  <a:pt x="2676" y="5009"/>
                </a:lnTo>
                <a:lnTo>
                  <a:pt x="2687" y="5024"/>
                </a:lnTo>
                <a:lnTo>
                  <a:pt x="2700" y="5038"/>
                </a:lnTo>
                <a:lnTo>
                  <a:pt x="2714" y="5053"/>
                </a:lnTo>
                <a:lnTo>
                  <a:pt x="2728" y="5067"/>
                </a:lnTo>
                <a:lnTo>
                  <a:pt x="2759" y="5093"/>
                </a:lnTo>
                <a:lnTo>
                  <a:pt x="2793" y="5119"/>
                </a:lnTo>
                <a:lnTo>
                  <a:pt x="2828" y="5141"/>
                </a:lnTo>
                <a:lnTo>
                  <a:pt x="2865" y="5164"/>
                </a:lnTo>
                <a:lnTo>
                  <a:pt x="2901" y="5184"/>
                </a:lnTo>
                <a:lnTo>
                  <a:pt x="2938" y="5202"/>
                </a:lnTo>
                <a:lnTo>
                  <a:pt x="2975" y="5219"/>
                </a:lnTo>
                <a:lnTo>
                  <a:pt x="3010" y="5233"/>
                </a:lnTo>
                <a:lnTo>
                  <a:pt x="3072" y="5257"/>
                </a:lnTo>
                <a:lnTo>
                  <a:pt x="3072" y="5257"/>
                </a:lnTo>
                <a:lnTo>
                  <a:pt x="3135" y="5280"/>
                </a:lnTo>
                <a:lnTo>
                  <a:pt x="3200" y="5299"/>
                </a:lnTo>
                <a:lnTo>
                  <a:pt x="3266" y="5318"/>
                </a:lnTo>
                <a:lnTo>
                  <a:pt x="3334" y="5333"/>
                </a:lnTo>
                <a:lnTo>
                  <a:pt x="3402" y="5349"/>
                </a:lnTo>
                <a:lnTo>
                  <a:pt x="3471" y="5363"/>
                </a:lnTo>
                <a:lnTo>
                  <a:pt x="3540" y="5374"/>
                </a:lnTo>
                <a:lnTo>
                  <a:pt x="3610" y="5384"/>
                </a:lnTo>
                <a:lnTo>
                  <a:pt x="3680" y="5394"/>
                </a:lnTo>
                <a:lnTo>
                  <a:pt x="3750" y="5401"/>
                </a:lnTo>
                <a:lnTo>
                  <a:pt x="3820" y="5407"/>
                </a:lnTo>
                <a:lnTo>
                  <a:pt x="3890" y="5412"/>
                </a:lnTo>
                <a:lnTo>
                  <a:pt x="3959" y="5416"/>
                </a:lnTo>
                <a:lnTo>
                  <a:pt x="4028" y="5419"/>
                </a:lnTo>
                <a:lnTo>
                  <a:pt x="4095" y="5421"/>
                </a:lnTo>
                <a:lnTo>
                  <a:pt x="4162" y="5421"/>
                </a:lnTo>
                <a:lnTo>
                  <a:pt x="4162" y="5421"/>
                </a:lnTo>
                <a:lnTo>
                  <a:pt x="4229" y="5421"/>
                </a:lnTo>
                <a:lnTo>
                  <a:pt x="4297" y="5419"/>
                </a:lnTo>
                <a:lnTo>
                  <a:pt x="4366" y="5416"/>
                </a:lnTo>
                <a:lnTo>
                  <a:pt x="4435" y="5412"/>
                </a:lnTo>
                <a:lnTo>
                  <a:pt x="4504" y="5407"/>
                </a:lnTo>
                <a:lnTo>
                  <a:pt x="4575" y="5401"/>
                </a:lnTo>
                <a:lnTo>
                  <a:pt x="4645" y="5394"/>
                </a:lnTo>
                <a:lnTo>
                  <a:pt x="4714" y="5384"/>
                </a:lnTo>
                <a:lnTo>
                  <a:pt x="4785" y="5374"/>
                </a:lnTo>
                <a:lnTo>
                  <a:pt x="4854" y="5363"/>
                </a:lnTo>
                <a:lnTo>
                  <a:pt x="4923" y="5349"/>
                </a:lnTo>
                <a:lnTo>
                  <a:pt x="4991" y="5333"/>
                </a:lnTo>
                <a:lnTo>
                  <a:pt x="5058" y="5318"/>
                </a:lnTo>
                <a:lnTo>
                  <a:pt x="5125" y="5299"/>
                </a:lnTo>
                <a:lnTo>
                  <a:pt x="5189" y="5280"/>
                </a:lnTo>
                <a:lnTo>
                  <a:pt x="5253" y="5257"/>
                </a:lnTo>
                <a:lnTo>
                  <a:pt x="5253" y="5257"/>
                </a:lnTo>
                <a:lnTo>
                  <a:pt x="5301" y="5239"/>
                </a:lnTo>
                <a:lnTo>
                  <a:pt x="5354" y="5216"/>
                </a:lnTo>
                <a:lnTo>
                  <a:pt x="5412" y="5189"/>
                </a:lnTo>
                <a:lnTo>
                  <a:pt x="5440" y="5174"/>
                </a:lnTo>
                <a:lnTo>
                  <a:pt x="5470" y="5158"/>
                </a:lnTo>
                <a:lnTo>
                  <a:pt x="5498" y="5141"/>
                </a:lnTo>
                <a:lnTo>
                  <a:pt x="5526" y="5123"/>
                </a:lnTo>
                <a:lnTo>
                  <a:pt x="5552" y="5105"/>
                </a:lnTo>
                <a:lnTo>
                  <a:pt x="5577" y="5084"/>
                </a:lnTo>
                <a:lnTo>
                  <a:pt x="5601" y="5062"/>
                </a:lnTo>
                <a:lnTo>
                  <a:pt x="5624" y="5041"/>
                </a:lnTo>
                <a:lnTo>
                  <a:pt x="5643" y="5017"/>
                </a:lnTo>
                <a:lnTo>
                  <a:pt x="5660" y="4993"/>
                </a:lnTo>
                <a:lnTo>
                  <a:pt x="5660" y="4993"/>
                </a:lnTo>
                <a:lnTo>
                  <a:pt x="5735" y="4971"/>
                </a:lnTo>
                <a:lnTo>
                  <a:pt x="5808" y="4947"/>
                </a:lnTo>
                <a:lnTo>
                  <a:pt x="5880" y="4920"/>
                </a:lnTo>
                <a:lnTo>
                  <a:pt x="5951" y="4892"/>
                </a:lnTo>
                <a:close/>
                <a:moveTo>
                  <a:pt x="6056" y="5040"/>
                </a:moveTo>
                <a:lnTo>
                  <a:pt x="6056" y="5040"/>
                </a:lnTo>
                <a:lnTo>
                  <a:pt x="6133" y="5060"/>
                </a:lnTo>
                <a:lnTo>
                  <a:pt x="6210" y="5081"/>
                </a:lnTo>
                <a:lnTo>
                  <a:pt x="6285" y="5105"/>
                </a:lnTo>
                <a:lnTo>
                  <a:pt x="6359" y="5129"/>
                </a:lnTo>
                <a:lnTo>
                  <a:pt x="6359" y="5129"/>
                </a:lnTo>
                <a:lnTo>
                  <a:pt x="6416" y="5148"/>
                </a:lnTo>
                <a:lnTo>
                  <a:pt x="6475" y="5171"/>
                </a:lnTo>
                <a:lnTo>
                  <a:pt x="6537" y="5196"/>
                </a:lnTo>
                <a:lnTo>
                  <a:pt x="6599" y="5223"/>
                </a:lnTo>
                <a:lnTo>
                  <a:pt x="6663" y="5253"/>
                </a:lnTo>
                <a:lnTo>
                  <a:pt x="6723" y="5285"/>
                </a:lnTo>
                <a:lnTo>
                  <a:pt x="6754" y="5304"/>
                </a:lnTo>
                <a:lnTo>
                  <a:pt x="6784" y="5321"/>
                </a:lnTo>
                <a:lnTo>
                  <a:pt x="6813" y="5340"/>
                </a:lnTo>
                <a:lnTo>
                  <a:pt x="6842" y="5360"/>
                </a:lnTo>
                <a:lnTo>
                  <a:pt x="6868" y="5380"/>
                </a:lnTo>
                <a:lnTo>
                  <a:pt x="6895" y="5401"/>
                </a:lnTo>
                <a:lnTo>
                  <a:pt x="6921" y="5423"/>
                </a:lnTo>
                <a:lnTo>
                  <a:pt x="6945" y="5446"/>
                </a:lnTo>
                <a:lnTo>
                  <a:pt x="6969" y="5470"/>
                </a:lnTo>
                <a:lnTo>
                  <a:pt x="6990" y="5494"/>
                </a:lnTo>
                <a:lnTo>
                  <a:pt x="7011" y="5519"/>
                </a:lnTo>
                <a:lnTo>
                  <a:pt x="7029" y="5546"/>
                </a:lnTo>
                <a:lnTo>
                  <a:pt x="7046" y="5573"/>
                </a:lnTo>
                <a:lnTo>
                  <a:pt x="7060" y="5601"/>
                </a:lnTo>
                <a:lnTo>
                  <a:pt x="7074" y="5631"/>
                </a:lnTo>
                <a:lnTo>
                  <a:pt x="7084" y="5660"/>
                </a:lnTo>
                <a:lnTo>
                  <a:pt x="7094" y="5691"/>
                </a:lnTo>
                <a:lnTo>
                  <a:pt x="7100" y="5724"/>
                </a:lnTo>
                <a:lnTo>
                  <a:pt x="7104" y="5756"/>
                </a:lnTo>
                <a:lnTo>
                  <a:pt x="7107" y="5790"/>
                </a:lnTo>
                <a:lnTo>
                  <a:pt x="7107" y="6275"/>
                </a:lnTo>
                <a:lnTo>
                  <a:pt x="7107" y="6275"/>
                </a:lnTo>
                <a:lnTo>
                  <a:pt x="7016" y="6193"/>
                </a:lnTo>
                <a:lnTo>
                  <a:pt x="6970" y="6154"/>
                </a:lnTo>
                <a:lnTo>
                  <a:pt x="6923" y="6114"/>
                </a:lnTo>
                <a:lnTo>
                  <a:pt x="6875" y="6076"/>
                </a:lnTo>
                <a:lnTo>
                  <a:pt x="6828" y="6038"/>
                </a:lnTo>
                <a:lnTo>
                  <a:pt x="6780" y="6002"/>
                </a:lnTo>
                <a:lnTo>
                  <a:pt x="6730" y="5965"/>
                </a:lnTo>
                <a:lnTo>
                  <a:pt x="6730" y="5965"/>
                </a:lnTo>
                <a:lnTo>
                  <a:pt x="6744" y="5944"/>
                </a:lnTo>
                <a:lnTo>
                  <a:pt x="6758" y="5924"/>
                </a:lnTo>
                <a:lnTo>
                  <a:pt x="6770" y="5901"/>
                </a:lnTo>
                <a:lnTo>
                  <a:pt x="6780" y="5880"/>
                </a:lnTo>
                <a:lnTo>
                  <a:pt x="6787" y="5858"/>
                </a:lnTo>
                <a:lnTo>
                  <a:pt x="6794" y="5835"/>
                </a:lnTo>
                <a:lnTo>
                  <a:pt x="6797" y="5811"/>
                </a:lnTo>
                <a:lnTo>
                  <a:pt x="6798" y="5787"/>
                </a:lnTo>
                <a:lnTo>
                  <a:pt x="6798" y="5787"/>
                </a:lnTo>
                <a:lnTo>
                  <a:pt x="6797" y="5765"/>
                </a:lnTo>
                <a:lnTo>
                  <a:pt x="6794" y="5744"/>
                </a:lnTo>
                <a:lnTo>
                  <a:pt x="6789" y="5722"/>
                </a:lnTo>
                <a:lnTo>
                  <a:pt x="6782" y="5701"/>
                </a:lnTo>
                <a:lnTo>
                  <a:pt x="6774" y="5680"/>
                </a:lnTo>
                <a:lnTo>
                  <a:pt x="6764" y="5660"/>
                </a:lnTo>
                <a:lnTo>
                  <a:pt x="6753" y="5642"/>
                </a:lnTo>
                <a:lnTo>
                  <a:pt x="6739" y="5622"/>
                </a:lnTo>
                <a:lnTo>
                  <a:pt x="6725" y="5604"/>
                </a:lnTo>
                <a:lnTo>
                  <a:pt x="6709" y="5586"/>
                </a:lnTo>
                <a:lnTo>
                  <a:pt x="6694" y="5569"/>
                </a:lnTo>
                <a:lnTo>
                  <a:pt x="6675" y="5552"/>
                </a:lnTo>
                <a:lnTo>
                  <a:pt x="6657" y="5535"/>
                </a:lnTo>
                <a:lnTo>
                  <a:pt x="6637" y="5519"/>
                </a:lnTo>
                <a:lnTo>
                  <a:pt x="6596" y="5488"/>
                </a:lnTo>
                <a:lnTo>
                  <a:pt x="6554" y="5460"/>
                </a:lnTo>
                <a:lnTo>
                  <a:pt x="6509" y="5433"/>
                </a:lnTo>
                <a:lnTo>
                  <a:pt x="6464" y="5409"/>
                </a:lnTo>
                <a:lnTo>
                  <a:pt x="6419" y="5388"/>
                </a:lnTo>
                <a:lnTo>
                  <a:pt x="6375" y="5367"/>
                </a:lnTo>
                <a:lnTo>
                  <a:pt x="6333" y="5349"/>
                </a:lnTo>
                <a:lnTo>
                  <a:pt x="6293" y="5333"/>
                </a:lnTo>
                <a:lnTo>
                  <a:pt x="6257" y="5321"/>
                </a:lnTo>
                <a:lnTo>
                  <a:pt x="6257" y="5321"/>
                </a:lnTo>
                <a:lnTo>
                  <a:pt x="6207" y="5302"/>
                </a:lnTo>
                <a:lnTo>
                  <a:pt x="6158" y="5287"/>
                </a:lnTo>
                <a:lnTo>
                  <a:pt x="6107" y="5271"/>
                </a:lnTo>
                <a:lnTo>
                  <a:pt x="6056" y="5257"/>
                </a:lnTo>
                <a:lnTo>
                  <a:pt x="6056" y="5040"/>
                </a:lnTo>
                <a:close/>
                <a:moveTo>
                  <a:pt x="5101" y="7188"/>
                </a:moveTo>
                <a:lnTo>
                  <a:pt x="5101" y="7188"/>
                </a:lnTo>
                <a:lnTo>
                  <a:pt x="4984" y="7190"/>
                </a:lnTo>
                <a:lnTo>
                  <a:pt x="4865" y="7190"/>
                </a:lnTo>
                <a:lnTo>
                  <a:pt x="4744" y="7188"/>
                </a:lnTo>
                <a:lnTo>
                  <a:pt x="4621" y="7182"/>
                </a:lnTo>
                <a:lnTo>
                  <a:pt x="4499" y="7172"/>
                </a:lnTo>
                <a:lnTo>
                  <a:pt x="4375" y="7161"/>
                </a:lnTo>
                <a:lnTo>
                  <a:pt x="4250" y="7145"/>
                </a:lnTo>
                <a:lnTo>
                  <a:pt x="4188" y="7137"/>
                </a:lnTo>
                <a:lnTo>
                  <a:pt x="4126" y="7127"/>
                </a:lnTo>
                <a:lnTo>
                  <a:pt x="4064" y="7117"/>
                </a:lnTo>
                <a:lnTo>
                  <a:pt x="4002" y="7106"/>
                </a:lnTo>
                <a:lnTo>
                  <a:pt x="3942" y="7093"/>
                </a:lnTo>
                <a:lnTo>
                  <a:pt x="3881" y="7080"/>
                </a:lnTo>
                <a:lnTo>
                  <a:pt x="3820" y="7066"/>
                </a:lnTo>
                <a:lnTo>
                  <a:pt x="3760" y="7051"/>
                </a:lnTo>
                <a:lnTo>
                  <a:pt x="3701" y="7035"/>
                </a:lnTo>
                <a:lnTo>
                  <a:pt x="3641" y="7018"/>
                </a:lnTo>
                <a:lnTo>
                  <a:pt x="3584" y="7001"/>
                </a:lnTo>
                <a:lnTo>
                  <a:pt x="3526" y="6983"/>
                </a:lnTo>
                <a:lnTo>
                  <a:pt x="3468" y="6963"/>
                </a:lnTo>
                <a:lnTo>
                  <a:pt x="3413" y="6942"/>
                </a:lnTo>
                <a:lnTo>
                  <a:pt x="3357" y="6921"/>
                </a:lnTo>
                <a:lnTo>
                  <a:pt x="3303" y="6898"/>
                </a:lnTo>
                <a:lnTo>
                  <a:pt x="3250" y="6874"/>
                </a:lnTo>
                <a:lnTo>
                  <a:pt x="3196" y="6851"/>
                </a:lnTo>
                <a:lnTo>
                  <a:pt x="3196" y="6851"/>
                </a:lnTo>
                <a:lnTo>
                  <a:pt x="3242" y="6770"/>
                </a:lnTo>
                <a:lnTo>
                  <a:pt x="3264" y="6731"/>
                </a:lnTo>
                <a:lnTo>
                  <a:pt x="3283" y="6691"/>
                </a:lnTo>
                <a:lnTo>
                  <a:pt x="3303" y="6652"/>
                </a:lnTo>
                <a:lnTo>
                  <a:pt x="3321" y="6612"/>
                </a:lnTo>
                <a:lnTo>
                  <a:pt x="3338" y="6573"/>
                </a:lnTo>
                <a:lnTo>
                  <a:pt x="3354" y="6533"/>
                </a:lnTo>
                <a:lnTo>
                  <a:pt x="3369" y="6494"/>
                </a:lnTo>
                <a:lnTo>
                  <a:pt x="3383" y="6453"/>
                </a:lnTo>
                <a:lnTo>
                  <a:pt x="3398" y="6412"/>
                </a:lnTo>
                <a:lnTo>
                  <a:pt x="3410" y="6370"/>
                </a:lnTo>
                <a:lnTo>
                  <a:pt x="3422" y="6327"/>
                </a:lnTo>
                <a:lnTo>
                  <a:pt x="3433" y="6284"/>
                </a:lnTo>
                <a:lnTo>
                  <a:pt x="3443" y="6240"/>
                </a:lnTo>
                <a:lnTo>
                  <a:pt x="3451" y="6193"/>
                </a:lnTo>
                <a:lnTo>
                  <a:pt x="3451" y="6193"/>
                </a:lnTo>
                <a:lnTo>
                  <a:pt x="3524" y="6226"/>
                </a:lnTo>
                <a:lnTo>
                  <a:pt x="3599" y="6254"/>
                </a:lnTo>
                <a:lnTo>
                  <a:pt x="3675" y="6281"/>
                </a:lnTo>
                <a:lnTo>
                  <a:pt x="3754" y="6306"/>
                </a:lnTo>
                <a:lnTo>
                  <a:pt x="3835" y="6329"/>
                </a:lnTo>
                <a:lnTo>
                  <a:pt x="3915" y="6349"/>
                </a:lnTo>
                <a:lnTo>
                  <a:pt x="3998" y="6367"/>
                </a:lnTo>
                <a:lnTo>
                  <a:pt x="4080" y="6382"/>
                </a:lnTo>
                <a:lnTo>
                  <a:pt x="4164" y="6396"/>
                </a:lnTo>
                <a:lnTo>
                  <a:pt x="4248" y="6409"/>
                </a:lnTo>
                <a:lnTo>
                  <a:pt x="4331" y="6419"/>
                </a:lnTo>
                <a:lnTo>
                  <a:pt x="4413" y="6429"/>
                </a:lnTo>
                <a:lnTo>
                  <a:pt x="4496" y="6436"/>
                </a:lnTo>
                <a:lnTo>
                  <a:pt x="4576" y="6442"/>
                </a:lnTo>
                <a:lnTo>
                  <a:pt x="4656" y="6447"/>
                </a:lnTo>
                <a:lnTo>
                  <a:pt x="4735" y="6450"/>
                </a:lnTo>
                <a:lnTo>
                  <a:pt x="4735" y="6450"/>
                </a:lnTo>
                <a:lnTo>
                  <a:pt x="4750" y="6497"/>
                </a:lnTo>
                <a:lnTo>
                  <a:pt x="4765" y="6545"/>
                </a:lnTo>
                <a:lnTo>
                  <a:pt x="4782" y="6591"/>
                </a:lnTo>
                <a:lnTo>
                  <a:pt x="4799" y="6639"/>
                </a:lnTo>
                <a:lnTo>
                  <a:pt x="4819" y="6686"/>
                </a:lnTo>
                <a:lnTo>
                  <a:pt x="4840" y="6732"/>
                </a:lnTo>
                <a:lnTo>
                  <a:pt x="4861" y="6779"/>
                </a:lnTo>
                <a:lnTo>
                  <a:pt x="4883" y="6825"/>
                </a:lnTo>
                <a:lnTo>
                  <a:pt x="4907" y="6872"/>
                </a:lnTo>
                <a:lnTo>
                  <a:pt x="4933" y="6918"/>
                </a:lnTo>
                <a:lnTo>
                  <a:pt x="4958" y="6963"/>
                </a:lnTo>
                <a:lnTo>
                  <a:pt x="4985" y="7008"/>
                </a:lnTo>
                <a:lnTo>
                  <a:pt x="5013" y="7054"/>
                </a:lnTo>
                <a:lnTo>
                  <a:pt x="5041" y="7099"/>
                </a:lnTo>
                <a:lnTo>
                  <a:pt x="5101" y="7188"/>
                </a:lnTo>
                <a:close/>
                <a:moveTo>
                  <a:pt x="7066" y="6387"/>
                </a:moveTo>
                <a:lnTo>
                  <a:pt x="7066" y="6387"/>
                </a:lnTo>
                <a:lnTo>
                  <a:pt x="7121" y="6439"/>
                </a:lnTo>
                <a:lnTo>
                  <a:pt x="7174" y="6491"/>
                </a:lnTo>
                <a:lnTo>
                  <a:pt x="7228" y="6546"/>
                </a:lnTo>
                <a:lnTo>
                  <a:pt x="7280" y="6602"/>
                </a:lnTo>
                <a:lnTo>
                  <a:pt x="7332" y="6659"/>
                </a:lnTo>
                <a:lnTo>
                  <a:pt x="7382" y="6717"/>
                </a:lnTo>
                <a:lnTo>
                  <a:pt x="7432" y="6776"/>
                </a:lnTo>
                <a:lnTo>
                  <a:pt x="7480" y="6835"/>
                </a:lnTo>
                <a:lnTo>
                  <a:pt x="7527" y="6896"/>
                </a:lnTo>
                <a:lnTo>
                  <a:pt x="7573" y="6958"/>
                </a:lnTo>
                <a:lnTo>
                  <a:pt x="7617" y="7020"/>
                </a:lnTo>
                <a:lnTo>
                  <a:pt x="7661" y="7083"/>
                </a:lnTo>
                <a:lnTo>
                  <a:pt x="7702" y="7148"/>
                </a:lnTo>
                <a:lnTo>
                  <a:pt x="7741" y="7213"/>
                </a:lnTo>
                <a:lnTo>
                  <a:pt x="7779" y="7278"/>
                </a:lnTo>
                <a:lnTo>
                  <a:pt x="7816" y="7344"/>
                </a:lnTo>
                <a:lnTo>
                  <a:pt x="7816" y="7344"/>
                </a:lnTo>
                <a:lnTo>
                  <a:pt x="7838" y="7389"/>
                </a:lnTo>
                <a:lnTo>
                  <a:pt x="7862" y="7437"/>
                </a:lnTo>
                <a:lnTo>
                  <a:pt x="7886" y="7488"/>
                </a:lnTo>
                <a:lnTo>
                  <a:pt x="7907" y="7540"/>
                </a:lnTo>
                <a:lnTo>
                  <a:pt x="7929" y="7594"/>
                </a:lnTo>
                <a:lnTo>
                  <a:pt x="7948" y="7650"/>
                </a:lnTo>
                <a:lnTo>
                  <a:pt x="7964" y="7705"/>
                </a:lnTo>
                <a:lnTo>
                  <a:pt x="7971" y="7735"/>
                </a:lnTo>
                <a:lnTo>
                  <a:pt x="7978" y="7763"/>
                </a:lnTo>
                <a:lnTo>
                  <a:pt x="7982" y="7791"/>
                </a:lnTo>
                <a:lnTo>
                  <a:pt x="7986" y="7819"/>
                </a:lnTo>
                <a:lnTo>
                  <a:pt x="7989" y="7847"/>
                </a:lnTo>
                <a:lnTo>
                  <a:pt x="7991" y="7876"/>
                </a:lnTo>
                <a:lnTo>
                  <a:pt x="7992" y="7902"/>
                </a:lnTo>
                <a:lnTo>
                  <a:pt x="7991" y="7931"/>
                </a:lnTo>
                <a:lnTo>
                  <a:pt x="7989" y="7957"/>
                </a:lnTo>
                <a:lnTo>
                  <a:pt x="7985" y="7984"/>
                </a:lnTo>
                <a:lnTo>
                  <a:pt x="7979" y="8011"/>
                </a:lnTo>
                <a:lnTo>
                  <a:pt x="7972" y="8036"/>
                </a:lnTo>
                <a:lnTo>
                  <a:pt x="7964" y="8062"/>
                </a:lnTo>
                <a:lnTo>
                  <a:pt x="7953" y="8087"/>
                </a:lnTo>
                <a:lnTo>
                  <a:pt x="7941" y="8111"/>
                </a:lnTo>
                <a:lnTo>
                  <a:pt x="7926" y="8134"/>
                </a:lnTo>
                <a:lnTo>
                  <a:pt x="7910" y="8156"/>
                </a:lnTo>
                <a:lnTo>
                  <a:pt x="7892" y="8179"/>
                </a:lnTo>
                <a:lnTo>
                  <a:pt x="7527" y="8565"/>
                </a:lnTo>
                <a:lnTo>
                  <a:pt x="7527" y="8565"/>
                </a:lnTo>
                <a:lnTo>
                  <a:pt x="7514" y="8578"/>
                </a:lnTo>
                <a:lnTo>
                  <a:pt x="7501" y="8589"/>
                </a:lnTo>
                <a:lnTo>
                  <a:pt x="7489" y="8599"/>
                </a:lnTo>
                <a:lnTo>
                  <a:pt x="7476" y="8609"/>
                </a:lnTo>
                <a:lnTo>
                  <a:pt x="7463" y="8616"/>
                </a:lnTo>
                <a:lnTo>
                  <a:pt x="7449" y="8623"/>
                </a:lnTo>
                <a:lnTo>
                  <a:pt x="7437" y="8627"/>
                </a:lnTo>
                <a:lnTo>
                  <a:pt x="7422" y="8633"/>
                </a:lnTo>
                <a:lnTo>
                  <a:pt x="7408" y="8636"/>
                </a:lnTo>
                <a:lnTo>
                  <a:pt x="7393" y="8639"/>
                </a:lnTo>
                <a:lnTo>
                  <a:pt x="7379" y="8640"/>
                </a:lnTo>
                <a:lnTo>
                  <a:pt x="7363" y="8640"/>
                </a:lnTo>
                <a:lnTo>
                  <a:pt x="7331" y="8639"/>
                </a:lnTo>
                <a:lnTo>
                  <a:pt x="7297" y="8634"/>
                </a:lnTo>
                <a:lnTo>
                  <a:pt x="7297" y="8634"/>
                </a:lnTo>
                <a:lnTo>
                  <a:pt x="7246" y="8627"/>
                </a:lnTo>
                <a:lnTo>
                  <a:pt x="7194" y="8617"/>
                </a:lnTo>
                <a:lnTo>
                  <a:pt x="7142" y="8606"/>
                </a:lnTo>
                <a:lnTo>
                  <a:pt x="7090" y="8592"/>
                </a:lnTo>
                <a:lnTo>
                  <a:pt x="7036" y="8578"/>
                </a:lnTo>
                <a:lnTo>
                  <a:pt x="6984" y="8561"/>
                </a:lnTo>
                <a:lnTo>
                  <a:pt x="6932" y="8543"/>
                </a:lnTo>
                <a:lnTo>
                  <a:pt x="6880" y="8523"/>
                </a:lnTo>
                <a:lnTo>
                  <a:pt x="6828" y="8502"/>
                </a:lnTo>
                <a:lnTo>
                  <a:pt x="6775" y="8479"/>
                </a:lnTo>
                <a:lnTo>
                  <a:pt x="6723" y="8457"/>
                </a:lnTo>
                <a:lnTo>
                  <a:pt x="6671" y="8431"/>
                </a:lnTo>
                <a:lnTo>
                  <a:pt x="6620" y="8405"/>
                </a:lnTo>
                <a:lnTo>
                  <a:pt x="6568" y="8378"/>
                </a:lnTo>
                <a:lnTo>
                  <a:pt x="6517" y="8350"/>
                </a:lnTo>
                <a:lnTo>
                  <a:pt x="6468" y="8320"/>
                </a:lnTo>
                <a:lnTo>
                  <a:pt x="6417" y="8290"/>
                </a:lnTo>
                <a:lnTo>
                  <a:pt x="6368" y="8259"/>
                </a:lnTo>
                <a:lnTo>
                  <a:pt x="6319" y="8228"/>
                </a:lnTo>
                <a:lnTo>
                  <a:pt x="6271" y="8196"/>
                </a:lnTo>
                <a:lnTo>
                  <a:pt x="6176" y="8130"/>
                </a:lnTo>
                <a:lnTo>
                  <a:pt x="6085" y="8060"/>
                </a:lnTo>
                <a:lnTo>
                  <a:pt x="5996" y="7991"/>
                </a:lnTo>
                <a:lnTo>
                  <a:pt x="5911" y="7921"/>
                </a:lnTo>
                <a:lnTo>
                  <a:pt x="5831" y="7850"/>
                </a:lnTo>
                <a:lnTo>
                  <a:pt x="5755" y="7780"/>
                </a:lnTo>
                <a:lnTo>
                  <a:pt x="5755" y="7780"/>
                </a:lnTo>
                <a:lnTo>
                  <a:pt x="5680" y="7708"/>
                </a:lnTo>
                <a:lnTo>
                  <a:pt x="5605" y="7632"/>
                </a:lnTo>
                <a:lnTo>
                  <a:pt x="5529" y="7551"/>
                </a:lnTo>
                <a:lnTo>
                  <a:pt x="5454" y="7467"/>
                </a:lnTo>
                <a:lnTo>
                  <a:pt x="5381" y="7381"/>
                </a:lnTo>
                <a:lnTo>
                  <a:pt x="5309" y="7289"/>
                </a:lnTo>
                <a:lnTo>
                  <a:pt x="5274" y="7244"/>
                </a:lnTo>
                <a:lnTo>
                  <a:pt x="5239" y="7196"/>
                </a:lnTo>
                <a:lnTo>
                  <a:pt x="5205" y="7149"/>
                </a:lnTo>
                <a:lnTo>
                  <a:pt x="5172" y="7102"/>
                </a:lnTo>
                <a:lnTo>
                  <a:pt x="5140" y="7052"/>
                </a:lnTo>
                <a:lnTo>
                  <a:pt x="5109" y="7004"/>
                </a:lnTo>
                <a:lnTo>
                  <a:pt x="5079" y="6953"/>
                </a:lnTo>
                <a:lnTo>
                  <a:pt x="5050" y="6904"/>
                </a:lnTo>
                <a:lnTo>
                  <a:pt x="5022" y="6855"/>
                </a:lnTo>
                <a:lnTo>
                  <a:pt x="4995" y="6804"/>
                </a:lnTo>
                <a:lnTo>
                  <a:pt x="4969" y="6753"/>
                </a:lnTo>
                <a:lnTo>
                  <a:pt x="4945" y="6702"/>
                </a:lnTo>
                <a:lnTo>
                  <a:pt x="4923" y="6650"/>
                </a:lnTo>
                <a:lnTo>
                  <a:pt x="4900" y="6600"/>
                </a:lnTo>
                <a:lnTo>
                  <a:pt x="4882" y="6549"/>
                </a:lnTo>
                <a:lnTo>
                  <a:pt x="4864" y="6497"/>
                </a:lnTo>
                <a:lnTo>
                  <a:pt x="4847" y="6446"/>
                </a:lnTo>
                <a:lnTo>
                  <a:pt x="4833" y="6394"/>
                </a:lnTo>
                <a:lnTo>
                  <a:pt x="4820" y="6343"/>
                </a:lnTo>
                <a:lnTo>
                  <a:pt x="4809" y="6292"/>
                </a:lnTo>
                <a:lnTo>
                  <a:pt x="4809" y="6292"/>
                </a:lnTo>
                <a:lnTo>
                  <a:pt x="4803" y="6258"/>
                </a:lnTo>
                <a:lnTo>
                  <a:pt x="4799" y="6226"/>
                </a:lnTo>
                <a:lnTo>
                  <a:pt x="4799" y="6210"/>
                </a:lnTo>
                <a:lnTo>
                  <a:pt x="4800" y="6196"/>
                </a:lnTo>
                <a:lnTo>
                  <a:pt x="4802" y="6181"/>
                </a:lnTo>
                <a:lnTo>
                  <a:pt x="4803" y="6167"/>
                </a:lnTo>
                <a:lnTo>
                  <a:pt x="4807" y="6152"/>
                </a:lnTo>
                <a:lnTo>
                  <a:pt x="4812" y="6138"/>
                </a:lnTo>
                <a:lnTo>
                  <a:pt x="4817" y="6124"/>
                </a:lnTo>
                <a:lnTo>
                  <a:pt x="4824" y="6112"/>
                </a:lnTo>
                <a:lnTo>
                  <a:pt x="4833" y="6097"/>
                </a:lnTo>
                <a:lnTo>
                  <a:pt x="4841" y="6085"/>
                </a:lnTo>
                <a:lnTo>
                  <a:pt x="4852" y="6071"/>
                </a:lnTo>
                <a:lnTo>
                  <a:pt x="4864" y="6058"/>
                </a:lnTo>
                <a:lnTo>
                  <a:pt x="5229" y="5670"/>
                </a:lnTo>
                <a:lnTo>
                  <a:pt x="5229" y="5670"/>
                </a:lnTo>
                <a:lnTo>
                  <a:pt x="5249" y="5650"/>
                </a:lnTo>
                <a:lnTo>
                  <a:pt x="5271" y="5634"/>
                </a:lnTo>
                <a:lnTo>
                  <a:pt x="5294" y="5618"/>
                </a:lnTo>
                <a:lnTo>
                  <a:pt x="5316" y="5604"/>
                </a:lnTo>
                <a:lnTo>
                  <a:pt x="5340" y="5591"/>
                </a:lnTo>
                <a:lnTo>
                  <a:pt x="5366" y="5581"/>
                </a:lnTo>
                <a:lnTo>
                  <a:pt x="5391" y="5573"/>
                </a:lnTo>
                <a:lnTo>
                  <a:pt x="5416" y="5566"/>
                </a:lnTo>
                <a:lnTo>
                  <a:pt x="5443" y="5560"/>
                </a:lnTo>
                <a:lnTo>
                  <a:pt x="5470" y="5556"/>
                </a:lnTo>
                <a:lnTo>
                  <a:pt x="5497" y="5555"/>
                </a:lnTo>
                <a:lnTo>
                  <a:pt x="5525" y="5553"/>
                </a:lnTo>
                <a:lnTo>
                  <a:pt x="5553" y="5553"/>
                </a:lnTo>
                <a:lnTo>
                  <a:pt x="5581" y="5555"/>
                </a:lnTo>
                <a:lnTo>
                  <a:pt x="5609" y="5556"/>
                </a:lnTo>
                <a:lnTo>
                  <a:pt x="5638" y="5560"/>
                </a:lnTo>
                <a:lnTo>
                  <a:pt x="5667" y="5564"/>
                </a:lnTo>
                <a:lnTo>
                  <a:pt x="5695" y="5570"/>
                </a:lnTo>
                <a:lnTo>
                  <a:pt x="5753" y="5583"/>
                </a:lnTo>
                <a:lnTo>
                  <a:pt x="5810" y="5598"/>
                </a:lnTo>
                <a:lnTo>
                  <a:pt x="5865" y="5615"/>
                </a:lnTo>
                <a:lnTo>
                  <a:pt x="5918" y="5635"/>
                </a:lnTo>
                <a:lnTo>
                  <a:pt x="5970" y="5655"/>
                </a:lnTo>
                <a:lnTo>
                  <a:pt x="6018" y="5676"/>
                </a:lnTo>
                <a:lnTo>
                  <a:pt x="6065" y="5696"/>
                </a:lnTo>
                <a:lnTo>
                  <a:pt x="6065" y="5696"/>
                </a:lnTo>
                <a:lnTo>
                  <a:pt x="6134" y="5728"/>
                </a:lnTo>
                <a:lnTo>
                  <a:pt x="6202" y="5762"/>
                </a:lnTo>
                <a:lnTo>
                  <a:pt x="6268" y="5797"/>
                </a:lnTo>
                <a:lnTo>
                  <a:pt x="6336" y="5835"/>
                </a:lnTo>
                <a:lnTo>
                  <a:pt x="6400" y="5875"/>
                </a:lnTo>
                <a:lnTo>
                  <a:pt x="6465" y="5914"/>
                </a:lnTo>
                <a:lnTo>
                  <a:pt x="6530" y="5956"/>
                </a:lnTo>
                <a:lnTo>
                  <a:pt x="6594" y="6000"/>
                </a:lnTo>
                <a:lnTo>
                  <a:pt x="6657" y="6045"/>
                </a:lnTo>
                <a:lnTo>
                  <a:pt x="6718" y="6090"/>
                </a:lnTo>
                <a:lnTo>
                  <a:pt x="6778" y="6138"/>
                </a:lnTo>
                <a:lnTo>
                  <a:pt x="6839" y="6186"/>
                </a:lnTo>
                <a:lnTo>
                  <a:pt x="6897" y="6234"/>
                </a:lnTo>
                <a:lnTo>
                  <a:pt x="6954" y="6285"/>
                </a:lnTo>
                <a:lnTo>
                  <a:pt x="7011" y="6334"/>
                </a:lnTo>
                <a:lnTo>
                  <a:pt x="7066" y="6387"/>
                </a:lnTo>
                <a:close/>
                <a:moveTo>
                  <a:pt x="6179" y="7330"/>
                </a:moveTo>
                <a:lnTo>
                  <a:pt x="6179" y="7330"/>
                </a:lnTo>
                <a:lnTo>
                  <a:pt x="6228" y="7377"/>
                </a:lnTo>
                <a:lnTo>
                  <a:pt x="6281" y="7423"/>
                </a:lnTo>
                <a:lnTo>
                  <a:pt x="6333" y="7468"/>
                </a:lnTo>
                <a:lnTo>
                  <a:pt x="6388" y="7515"/>
                </a:lnTo>
                <a:lnTo>
                  <a:pt x="6443" y="7560"/>
                </a:lnTo>
                <a:lnTo>
                  <a:pt x="6499" y="7604"/>
                </a:lnTo>
                <a:lnTo>
                  <a:pt x="6557" y="7647"/>
                </a:lnTo>
                <a:lnTo>
                  <a:pt x="6615" y="7690"/>
                </a:lnTo>
                <a:lnTo>
                  <a:pt x="6674" y="7732"/>
                </a:lnTo>
                <a:lnTo>
                  <a:pt x="6734" y="7771"/>
                </a:lnTo>
                <a:lnTo>
                  <a:pt x="6795" y="7809"/>
                </a:lnTo>
                <a:lnTo>
                  <a:pt x="6856" y="7846"/>
                </a:lnTo>
                <a:lnTo>
                  <a:pt x="6918" y="7881"/>
                </a:lnTo>
                <a:lnTo>
                  <a:pt x="6980" y="7914"/>
                </a:lnTo>
                <a:lnTo>
                  <a:pt x="7042" y="7945"/>
                </a:lnTo>
                <a:lnTo>
                  <a:pt x="7105" y="7973"/>
                </a:lnTo>
                <a:lnTo>
                  <a:pt x="7105" y="7973"/>
                </a:lnTo>
                <a:lnTo>
                  <a:pt x="7169" y="7998"/>
                </a:lnTo>
                <a:lnTo>
                  <a:pt x="7205" y="8012"/>
                </a:lnTo>
                <a:lnTo>
                  <a:pt x="7243" y="8025"/>
                </a:lnTo>
                <a:lnTo>
                  <a:pt x="7284" y="8038"/>
                </a:lnTo>
                <a:lnTo>
                  <a:pt x="7325" y="8049"/>
                </a:lnTo>
                <a:lnTo>
                  <a:pt x="7367" y="8058"/>
                </a:lnTo>
                <a:lnTo>
                  <a:pt x="7410" y="8066"/>
                </a:lnTo>
                <a:lnTo>
                  <a:pt x="7452" y="8070"/>
                </a:lnTo>
                <a:lnTo>
                  <a:pt x="7494" y="8072"/>
                </a:lnTo>
                <a:lnTo>
                  <a:pt x="7515" y="8072"/>
                </a:lnTo>
                <a:lnTo>
                  <a:pt x="7535" y="8072"/>
                </a:lnTo>
                <a:lnTo>
                  <a:pt x="7555" y="8069"/>
                </a:lnTo>
                <a:lnTo>
                  <a:pt x="7575" y="8066"/>
                </a:lnTo>
                <a:lnTo>
                  <a:pt x="7593" y="8062"/>
                </a:lnTo>
                <a:lnTo>
                  <a:pt x="7611" y="8056"/>
                </a:lnTo>
                <a:lnTo>
                  <a:pt x="7628" y="8051"/>
                </a:lnTo>
                <a:lnTo>
                  <a:pt x="7645" y="8042"/>
                </a:lnTo>
                <a:lnTo>
                  <a:pt x="7662" y="8034"/>
                </a:lnTo>
                <a:lnTo>
                  <a:pt x="7678" y="8024"/>
                </a:lnTo>
                <a:lnTo>
                  <a:pt x="7692" y="8012"/>
                </a:lnTo>
                <a:lnTo>
                  <a:pt x="7704" y="7998"/>
                </a:lnTo>
                <a:lnTo>
                  <a:pt x="7704" y="7998"/>
                </a:lnTo>
                <a:lnTo>
                  <a:pt x="7717" y="7984"/>
                </a:lnTo>
                <a:lnTo>
                  <a:pt x="7728" y="7970"/>
                </a:lnTo>
                <a:lnTo>
                  <a:pt x="7737" y="7953"/>
                </a:lnTo>
                <a:lnTo>
                  <a:pt x="7745" y="7938"/>
                </a:lnTo>
                <a:lnTo>
                  <a:pt x="7751" y="7919"/>
                </a:lnTo>
                <a:lnTo>
                  <a:pt x="7757" y="7902"/>
                </a:lnTo>
                <a:lnTo>
                  <a:pt x="7761" y="7883"/>
                </a:lnTo>
                <a:lnTo>
                  <a:pt x="7764" y="7864"/>
                </a:lnTo>
                <a:lnTo>
                  <a:pt x="7765" y="7845"/>
                </a:lnTo>
                <a:lnTo>
                  <a:pt x="7766" y="7825"/>
                </a:lnTo>
                <a:lnTo>
                  <a:pt x="7766" y="7805"/>
                </a:lnTo>
                <a:lnTo>
                  <a:pt x="7765" y="7784"/>
                </a:lnTo>
                <a:lnTo>
                  <a:pt x="7761" y="7743"/>
                </a:lnTo>
                <a:lnTo>
                  <a:pt x="7754" y="7701"/>
                </a:lnTo>
                <a:lnTo>
                  <a:pt x="7744" y="7659"/>
                </a:lnTo>
                <a:lnTo>
                  <a:pt x="7731" y="7616"/>
                </a:lnTo>
                <a:lnTo>
                  <a:pt x="7719" y="7575"/>
                </a:lnTo>
                <a:lnTo>
                  <a:pt x="7703" y="7536"/>
                </a:lnTo>
                <a:lnTo>
                  <a:pt x="7687" y="7499"/>
                </a:lnTo>
                <a:lnTo>
                  <a:pt x="7672" y="7464"/>
                </a:lnTo>
                <a:lnTo>
                  <a:pt x="7642" y="7402"/>
                </a:lnTo>
                <a:lnTo>
                  <a:pt x="7642" y="7402"/>
                </a:lnTo>
                <a:lnTo>
                  <a:pt x="7610" y="7341"/>
                </a:lnTo>
                <a:lnTo>
                  <a:pt x="7576" y="7281"/>
                </a:lnTo>
                <a:lnTo>
                  <a:pt x="7539" y="7220"/>
                </a:lnTo>
                <a:lnTo>
                  <a:pt x="7501" y="7161"/>
                </a:lnTo>
                <a:lnTo>
                  <a:pt x="7461" y="7102"/>
                </a:lnTo>
                <a:lnTo>
                  <a:pt x="7420" y="7044"/>
                </a:lnTo>
                <a:lnTo>
                  <a:pt x="7376" y="6986"/>
                </a:lnTo>
                <a:lnTo>
                  <a:pt x="7331" y="6929"/>
                </a:lnTo>
                <a:lnTo>
                  <a:pt x="7284" y="6874"/>
                </a:lnTo>
                <a:lnTo>
                  <a:pt x="7238" y="6819"/>
                </a:lnTo>
                <a:lnTo>
                  <a:pt x="7190" y="6766"/>
                </a:lnTo>
                <a:lnTo>
                  <a:pt x="7142" y="6712"/>
                </a:lnTo>
                <a:lnTo>
                  <a:pt x="7093" y="6662"/>
                </a:lnTo>
                <a:lnTo>
                  <a:pt x="7043" y="6611"/>
                </a:lnTo>
                <a:lnTo>
                  <a:pt x="6994" y="6563"/>
                </a:lnTo>
                <a:lnTo>
                  <a:pt x="6945" y="6515"/>
                </a:lnTo>
                <a:lnTo>
                  <a:pt x="6945" y="6515"/>
                </a:lnTo>
                <a:lnTo>
                  <a:pt x="6895" y="6468"/>
                </a:lnTo>
                <a:lnTo>
                  <a:pt x="6843" y="6422"/>
                </a:lnTo>
                <a:lnTo>
                  <a:pt x="6791" y="6377"/>
                </a:lnTo>
                <a:lnTo>
                  <a:pt x="6736" y="6330"/>
                </a:lnTo>
                <a:lnTo>
                  <a:pt x="6681" y="6285"/>
                </a:lnTo>
                <a:lnTo>
                  <a:pt x="6625" y="6241"/>
                </a:lnTo>
                <a:lnTo>
                  <a:pt x="6567" y="6198"/>
                </a:lnTo>
                <a:lnTo>
                  <a:pt x="6508" y="6155"/>
                </a:lnTo>
                <a:lnTo>
                  <a:pt x="6448" y="6113"/>
                </a:lnTo>
                <a:lnTo>
                  <a:pt x="6389" y="6074"/>
                </a:lnTo>
                <a:lnTo>
                  <a:pt x="6328" y="6035"/>
                </a:lnTo>
                <a:lnTo>
                  <a:pt x="6266" y="5999"/>
                </a:lnTo>
                <a:lnTo>
                  <a:pt x="6206" y="5964"/>
                </a:lnTo>
                <a:lnTo>
                  <a:pt x="6144" y="5931"/>
                </a:lnTo>
                <a:lnTo>
                  <a:pt x="6082" y="5900"/>
                </a:lnTo>
                <a:lnTo>
                  <a:pt x="6018" y="5872"/>
                </a:lnTo>
                <a:lnTo>
                  <a:pt x="6018" y="5872"/>
                </a:lnTo>
                <a:lnTo>
                  <a:pt x="5955" y="5846"/>
                </a:lnTo>
                <a:lnTo>
                  <a:pt x="5918" y="5832"/>
                </a:lnTo>
                <a:lnTo>
                  <a:pt x="5880" y="5820"/>
                </a:lnTo>
                <a:lnTo>
                  <a:pt x="5839" y="5807"/>
                </a:lnTo>
                <a:lnTo>
                  <a:pt x="5798" y="5797"/>
                </a:lnTo>
                <a:lnTo>
                  <a:pt x="5756" y="5787"/>
                </a:lnTo>
                <a:lnTo>
                  <a:pt x="5714" y="5780"/>
                </a:lnTo>
                <a:lnTo>
                  <a:pt x="5672" y="5775"/>
                </a:lnTo>
                <a:lnTo>
                  <a:pt x="5629" y="5773"/>
                </a:lnTo>
                <a:lnTo>
                  <a:pt x="5608" y="5773"/>
                </a:lnTo>
                <a:lnTo>
                  <a:pt x="5588" y="5775"/>
                </a:lnTo>
                <a:lnTo>
                  <a:pt x="5569" y="5776"/>
                </a:lnTo>
                <a:lnTo>
                  <a:pt x="5549" y="5779"/>
                </a:lnTo>
                <a:lnTo>
                  <a:pt x="5531" y="5783"/>
                </a:lnTo>
                <a:lnTo>
                  <a:pt x="5512" y="5789"/>
                </a:lnTo>
                <a:lnTo>
                  <a:pt x="5495" y="5794"/>
                </a:lnTo>
                <a:lnTo>
                  <a:pt x="5478" y="5803"/>
                </a:lnTo>
                <a:lnTo>
                  <a:pt x="5461" y="5811"/>
                </a:lnTo>
                <a:lnTo>
                  <a:pt x="5446" y="5821"/>
                </a:lnTo>
                <a:lnTo>
                  <a:pt x="5432" y="5834"/>
                </a:lnTo>
                <a:lnTo>
                  <a:pt x="5419" y="5846"/>
                </a:lnTo>
                <a:lnTo>
                  <a:pt x="5419" y="5846"/>
                </a:lnTo>
                <a:lnTo>
                  <a:pt x="5406" y="5861"/>
                </a:lnTo>
                <a:lnTo>
                  <a:pt x="5395" y="5875"/>
                </a:lnTo>
                <a:lnTo>
                  <a:pt x="5387" y="5892"/>
                </a:lnTo>
                <a:lnTo>
                  <a:pt x="5378" y="5909"/>
                </a:lnTo>
                <a:lnTo>
                  <a:pt x="5373" y="5925"/>
                </a:lnTo>
                <a:lnTo>
                  <a:pt x="5367" y="5942"/>
                </a:lnTo>
                <a:lnTo>
                  <a:pt x="5363" y="5962"/>
                </a:lnTo>
                <a:lnTo>
                  <a:pt x="5360" y="5980"/>
                </a:lnTo>
                <a:lnTo>
                  <a:pt x="5359" y="6000"/>
                </a:lnTo>
                <a:lnTo>
                  <a:pt x="5357" y="6020"/>
                </a:lnTo>
                <a:lnTo>
                  <a:pt x="5357" y="6040"/>
                </a:lnTo>
                <a:lnTo>
                  <a:pt x="5359" y="6061"/>
                </a:lnTo>
                <a:lnTo>
                  <a:pt x="5363" y="6102"/>
                </a:lnTo>
                <a:lnTo>
                  <a:pt x="5370" y="6144"/>
                </a:lnTo>
                <a:lnTo>
                  <a:pt x="5380" y="6186"/>
                </a:lnTo>
                <a:lnTo>
                  <a:pt x="5392" y="6229"/>
                </a:lnTo>
                <a:lnTo>
                  <a:pt x="5405" y="6270"/>
                </a:lnTo>
                <a:lnTo>
                  <a:pt x="5421" y="6309"/>
                </a:lnTo>
                <a:lnTo>
                  <a:pt x="5436" y="6346"/>
                </a:lnTo>
                <a:lnTo>
                  <a:pt x="5452" y="6381"/>
                </a:lnTo>
                <a:lnTo>
                  <a:pt x="5481" y="6443"/>
                </a:lnTo>
                <a:lnTo>
                  <a:pt x="5481" y="6443"/>
                </a:lnTo>
                <a:lnTo>
                  <a:pt x="5514" y="6504"/>
                </a:lnTo>
                <a:lnTo>
                  <a:pt x="5547" y="6564"/>
                </a:lnTo>
                <a:lnTo>
                  <a:pt x="5584" y="6625"/>
                </a:lnTo>
                <a:lnTo>
                  <a:pt x="5622" y="6684"/>
                </a:lnTo>
                <a:lnTo>
                  <a:pt x="5663" y="6743"/>
                </a:lnTo>
                <a:lnTo>
                  <a:pt x="5704" y="6801"/>
                </a:lnTo>
                <a:lnTo>
                  <a:pt x="5748" y="6859"/>
                </a:lnTo>
                <a:lnTo>
                  <a:pt x="5793" y="6915"/>
                </a:lnTo>
                <a:lnTo>
                  <a:pt x="5838" y="6972"/>
                </a:lnTo>
                <a:lnTo>
                  <a:pt x="5886" y="7025"/>
                </a:lnTo>
                <a:lnTo>
                  <a:pt x="5934" y="7079"/>
                </a:lnTo>
                <a:lnTo>
                  <a:pt x="5982" y="7133"/>
                </a:lnTo>
                <a:lnTo>
                  <a:pt x="6031" y="7183"/>
                </a:lnTo>
                <a:lnTo>
                  <a:pt x="6080" y="7234"/>
                </a:lnTo>
                <a:lnTo>
                  <a:pt x="6130" y="7282"/>
                </a:lnTo>
                <a:lnTo>
                  <a:pt x="6179" y="7330"/>
                </a:lnTo>
                <a:close/>
                <a:moveTo>
                  <a:pt x="5488" y="2351"/>
                </a:moveTo>
                <a:lnTo>
                  <a:pt x="3678" y="0"/>
                </a:lnTo>
                <a:lnTo>
                  <a:pt x="1868" y="2351"/>
                </a:lnTo>
                <a:lnTo>
                  <a:pt x="2774" y="2351"/>
                </a:lnTo>
                <a:lnTo>
                  <a:pt x="2774" y="4222"/>
                </a:lnTo>
                <a:lnTo>
                  <a:pt x="2774" y="4222"/>
                </a:lnTo>
                <a:lnTo>
                  <a:pt x="2822" y="4204"/>
                </a:lnTo>
                <a:lnTo>
                  <a:pt x="2869" y="4185"/>
                </a:lnTo>
                <a:lnTo>
                  <a:pt x="2917" y="4168"/>
                </a:lnTo>
                <a:lnTo>
                  <a:pt x="2965" y="4151"/>
                </a:lnTo>
                <a:lnTo>
                  <a:pt x="3014" y="4136"/>
                </a:lnTo>
                <a:lnTo>
                  <a:pt x="3062" y="4122"/>
                </a:lnTo>
                <a:lnTo>
                  <a:pt x="3161" y="4095"/>
                </a:lnTo>
                <a:lnTo>
                  <a:pt x="3161" y="4074"/>
                </a:lnTo>
                <a:lnTo>
                  <a:pt x="3161" y="4074"/>
                </a:lnTo>
                <a:lnTo>
                  <a:pt x="3162" y="4043"/>
                </a:lnTo>
                <a:lnTo>
                  <a:pt x="3165" y="4012"/>
                </a:lnTo>
                <a:lnTo>
                  <a:pt x="3171" y="3982"/>
                </a:lnTo>
                <a:lnTo>
                  <a:pt x="3178" y="3954"/>
                </a:lnTo>
                <a:lnTo>
                  <a:pt x="3186" y="3926"/>
                </a:lnTo>
                <a:lnTo>
                  <a:pt x="3196" y="3899"/>
                </a:lnTo>
                <a:lnTo>
                  <a:pt x="3207" y="3874"/>
                </a:lnTo>
                <a:lnTo>
                  <a:pt x="3220" y="3848"/>
                </a:lnTo>
                <a:lnTo>
                  <a:pt x="3235" y="3824"/>
                </a:lnTo>
                <a:lnTo>
                  <a:pt x="3251" y="3800"/>
                </a:lnTo>
                <a:lnTo>
                  <a:pt x="3268" y="3778"/>
                </a:lnTo>
                <a:lnTo>
                  <a:pt x="3286" y="3755"/>
                </a:lnTo>
                <a:lnTo>
                  <a:pt x="3305" y="3735"/>
                </a:lnTo>
                <a:lnTo>
                  <a:pt x="3326" y="3714"/>
                </a:lnTo>
                <a:lnTo>
                  <a:pt x="3347" y="3695"/>
                </a:lnTo>
                <a:lnTo>
                  <a:pt x="3368" y="3676"/>
                </a:lnTo>
                <a:lnTo>
                  <a:pt x="3392" y="3658"/>
                </a:lnTo>
                <a:lnTo>
                  <a:pt x="3414" y="3641"/>
                </a:lnTo>
                <a:lnTo>
                  <a:pt x="3440" y="3624"/>
                </a:lnTo>
                <a:lnTo>
                  <a:pt x="3464" y="3609"/>
                </a:lnTo>
                <a:lnTo>
                  <a:pt x="3516" y="3578"/>
                </a:lnTo>
                <a:lnTo>
                  <a:pt x="3568" y="3551"/>
                </a:lnTo>
                <a:lnTo>
                  <a:pt x="3622" y="3525"/>
                </a:lnTo>
                <a:lnTo>
                  <a:pt x="3677" y="3503"/>
                </a:lnTo>
                <a:lnTo>
                  <a:pt x="3730" y="3482"/>
                </a:lnTo>
                <a:lnTo>
                  <a:pt x="3784" y="3462"/>
                </a:lnTo>
                <a:lnTo>
                  <a:pt x="3784" y="3462"/>
                </a:lnTo>
                <a:lnTo>
                  <a:pt x="3832" y="3446"/>
                </a:lnTo>
                <a:lnTo>
                  <a:pt x="3880" y="3431"/>
                </a:lnTo>
                <a:lnTo>
                  <a:pt x="3928" y="3417"/>
                </a:lnTo>
                <a:lnTo>
                  <a:pt x="3977" y="3404"/>
                </a:lnTo>
                <a:lnTo>
                  <a:pt x="4026" y="3391"/>
                </a:lnTo>
                <a:lnTo>
                  <a:pt x="4077" y="3380"/>
                </a:lnTo>
                <a:lnTo>
                  <a:pt x="4126" y="3370"/>
                </a:lnTo>
                <a:lnTo>
                  <a:pt x="4177" y="3360"/>
                </a:lnTo>
                <a:lnTo>
                  <a:pt x="4277" y="3343"/>
                </a:lnTo>
                <a:lnTo>
                  <a:pt x="4379" y="3329"/>
                </a:lnTo>
                <a:lnTo>
                  <a:pt x="4482" y="3319"/>
                </a:lnTo>
                <a:lnTo>
                  <a:pt x="4583" y="3312"/>
                </a:lnTo>
                <a:lnTo>
                  <a:pt x="4583" y="2351"/>
                </a:lnTo>
                <a:lnTo>
                  <a:pt x="5488" y="2351"/>
                </a:lnTo>
                <a:close/>
                <a:moveTo>
                  <a:pt x="7672" y="3030"/>
                </a:moveTo>
                <a:lnTo>
                  <a:pt x="6540" y="1560"/>
                </a:lnTo>
                <a:lnTo>
                  <a:pt x="5408" y="3030"/>
                </a:lnTo>
                <a:lnTo>
                  <a:pt x="5858" y="3030"/>
                </a:lnTo>
                <a:lnTo>
                  <a:pt x="5858" y="3475"/>
                </a:lnTo>
                <a:lnTo>
                  <a:pt x="5858" y="3475"/>
                </a:lnTo>
                <a:lnTo>
                  <a:pt x="5910" y="3494"/>
                </a:lnTo>
                <a:lnTo>
                  <a:pt x="5962" y="3516"/>
                </a:lnTo>
                <a:lnTo>
                  <a:pt x="6013" y="3538"/>
                </a:lnTo>
                <a:lnTo>
                  <a:pt x="6065" y="3563"/>
                </a:lnTo>
                <a:lnTo>
                  <a:pt x="6114" y="3592"/>
                </a:lnTo>
                <a:lnTo>
                  <a:pt x="6162" y="3621"/>
                </a:lnTo>
                <a:lnTo>
                  <a:pt x="6186" y="3637"/>
                </a:lnTo>
                <a:lnTo>
                  <a:pt x="6209" y="3654"/>
                </a:lnTo>
                <a:lnTo>
                  <a:pt x="6231" y="3671"/>
                </a:lnTo>
                <a:lnTo>
                  <a:pt x="6252" y="3689"/>
                </a:lnTo>
                <a:lnTo>
                  <a:pt x="6273" y="3707"/>
                </a:lnTo>
                <a:lnTo>
                  <a:pt x="6293" y="3726"/>
                </a:lnTo>
                <a:lnTo>
                  <a:pt x="6312" y="3745"/>
                </a:lnTo>
                <a:lnTo>
                  <a:pt x="6330" y="3767"/>
                </a:lnTo>
                <a:lnTo>
                  <a:pt x="6347" y="3788"/>
                </a:lnTo>
                <a:lnTo>
                  <a:pt x="6362" y="3810"/>
                </a:lnTo>
                <a:lnTo>
                  <a:pt x="6376" y="3833"/>
                </a:lnTo>
                <a:lnTo>
                  <a:pt x="6390" y="3857"/>
                </a:lnTo>
                <a:lnTo>
                  <a:pt x="6403" y="3881"/>
                </a:lnTo>
                <a:lnTo>
                  <a:pt x="6413" y="3906"/>
                </a:lnTo>
                <a:lnTo>
                  <a:pt x="6423" y="3932"/>
                </a:lnTo>
                <a:lnTo>
                  <a:pt x="6430" y="3958"/>
                </a:lnTo>
                <a:lnTo>
                  <a:pt x="6437" y="3986"/>
                </a:lnTo>
                <a:lnTo>
                  <a:pt x="6441" y="4015"/>
                </a:lnTo>
                <a:lnTo>
                  <a:pt x="6444" y="4044"/>
                </a:lnTo>
                <a:lnTo>
                  <a:pt x="6445" y="4074"/>
                </a:lnTo>
                <a:lnTo>
                  <a:pt x="6445" y="4503"/>
                </a:lnTo>
                <a:lnTo>
                  <a:pt x="6445" y="4503"/>
                </a:lnTo>
                <a:lnTo>
                  <a:pt x="6445" y="4528"/>
                </a:lnTo>
                <a:lnTo>
                  <a:pt x="6443" y="4552"/>
                </a:lnTo>
                <a:lnTo>
                  <a:pt x="6440" y="4576"/>
                </a:lnTo>
                <a:lnTo>
                  <a:pt x="6434" y="4599"/>
                </a:lnTo>
                <a:lnTo>
                  <a:pt x="6429" y="4621"/>
                </a:lnTo>
                <a:lnTo>
                  <a:pt x="6420" y="4642"/>
                </a:lnTo>
                <a:lnTo>
                  <a:pt x="6412" y="4662"/>
                </a:lnTo>
                <a:lnTo>
                  <a:pt x="6402" y="4682"/>
                </a:lnTo>
                <a:lnTo>
                  <a:pt x="6389" y="4701"/>
                </a:lnTo>
                <a:lnTo>
                  <a:pt x="6376" y="4720"/>
                </a:lnTo>
                <a:lnTo>
                  <a:pt x="6364" y="4737"/>
                </a:lnTo>
                <a:lnTo>
                  <a:pt x="6348" y="4754"/>
                </a:lnTo>
                <a:lnTo>
                  <a:pt x="6331" y="4769"/>
                </a:lnTo>
                <a:lnTo>
                  <a:pt x="6314" y="4785"/>
                </a:lnTo>
                <a:lnTo>
                  <a:pt x="6296" y="4799"/>
                </a:lnTo>
                <a:lnTo>
                  <a:pt x="6276" y="4813"/>
                </a:lnTo>
                <a:lnTo>
                  <a:pt x="6276" y="4813"/>
                </a:lnTo>
                <a:lnTo>
                  <a:pt x="6224" y="4850"/>
                </a:lnTo>
                <a:lnTo>
                  <a:pt x="6169" y="4883"/>
                </a:lnTo>
                <a:lnTo>
                  <a:pt x="6169" y="4883"/>
                </a:lnTo>
                <a:lnTo>
                  <a:pt x="6231" y="4900"/>
                </a:lnTo>
                <a:lnTo>
                  <a:pt x="6295" y="4919"/>
                </a:lnTo>
                <a:lnTo>
                  <a:pt x="6357" y="4938"/>
                </a:lnTo>
                <a:lnTo>
                  <a:pt x="6417" y="4960"/>
                </a:lnTo>
                <a:lnTo>
                  <a:pt x="6417" y="4960"/>
                </a:lnTo>
                <a:lnTo>
                  <a:pt x="6474" y="4979"/>
                </a:lnTo>
                <a:lnTo>
                  <a:pt x="6531" y="5000"/>
                </a:lnTo>
                <a:lnTo>
                  <a:pt x="6589" y="5024"/>
                </a:lnTo>
                <a:lnTo>
                  <a:pt x="6648" y="5048"/>
                </a:lnTo>
                <a:lnTo>
                  <a:pt x="6706" y="5075"/>
                </a:lnTo>
                <a:lnTo>
                  <a:pt x="6764" y="5105"/>
                </a:lnTo>
                <a:lnTo>
                  <a:pt x="6820" y="5136"/>
                </a:lnTo>
                <a:lnTo>
                  <a:pt x="6877" y="5168"/>
                </a:lnTo>
                <a:lnTo>
                  <a:pt x="6930" y="5203"/>
                </a:lnTo>
                <a:lnTo>
                  <a:pt x="6981" y="5240"/>
                </a:lnTo>
                <a:lnTo>
                  <a:pt x="7007" y="5260"/>
                </a:lnTo>
                <a:lnTo>
                  <a:pt x="7031" y="5281"/>
                </a:lnTo>
                <a:lnTo>
                  <a:pt x="7053" y="5302"/>
                </a:lnTo>
                <a:lnTo>
                  <a:pt x="7076" y="5323"/>
                </a:lnTo>
                <a:lnTo>
                  <a:pt x="7098" y="5346"/>
                </a:lnTo>
                <a:lnTo>
                  <a:pt x="7118" y="5368"/>
                </a:lnTo>
                <a:lnTo>
                  <a:pt x="7138" y="5391"/>
                </a:lnTo>
                <a:lnTo>
                  <a:pt x="7157" y="5415"/>
                </a:lnTo>
                <a:lnTo>
                  <a:pt x="7174" y="5440"/>
                </a:lnTo>
                <a:lnTo>
                  <a:pt x="7191" y="5466"/>
                </a:lnTo>
                <a:lnTo>
                  <a:pt x="7207" y="5493"/>
                </a:lnTo>
                <a:lnTo>
                  <a:pt x="7221" y="5519"/>
                </a:lnTo>
                <a:lnTo>
                  <a:pt x="7221" y="3030"/>
                </a:lnTo>
                <a:lnTo>
                  <a:pt x="7672" y="3030"/>
                </a:lnTo>
                <a:close/>
                <a:moveTo>
                  <a:pt x="2474" y="3881"/>
                </a:moveTo>
                <a:lnTo>
                  <a:pt x="1339" y="2407"/>
                </a:lnTo>
                <a:lnTo>
                  <a:pt x="206" y="3881"/>
                </a:lnTo>
                <a:lnTo>
                  <a:pt x="657" y="3881"/>
                </a:lnTo>
                <a:lnTo>
                  <a:pt x="657" y="6350"/>
                </a:lnTo>
                <a:lnTo>
                  <a:pt x="657" y="6350"/>
                </a:lnTo>
                <a:lnTo>
                  <a:pt x="733" y="6333"/>
                </a:lnTo>
                <a:lnTo>
                  <a:pt x="808" y="6319"/>
                </a:lnTo>
                <a:lnTo>
                  <a:pt x="881" y="6308"/>
                </a:lnTo>
                <a:lnTo>
                  <a:pt x="956" y="6298"/>
                </a:lnTo>
                <a:lnTo>
                  <a:pt x="1031" y="6289"/>
                </a:lnTo>
                <a:lnTo>
                  <a:pt x="1105" y="6284"/>
                </a:lnTo>
                <a:lnTo>
                  <a:pt x="1181" y="6278"/>
                </a:lnTo>
                <a:lnTo>
                  <a:pt x="1258" y="6274"/>
                </a:lnTo>
                <a:lnTo>
                  <a:pt x="1258" y="6274"/>
                </a:lnTo>
                <a:lnTo>
                  <a:pt x="1300" y="6230"/>
                </a:lnTo>
                <a:lnTo>
                  <a:pt x="1344" y="6186"/>
                </a:lnTo>
                <a:lnTo>
                  <a:pt x="1387" y="6143"/>
                </a:lnTo>
                <a:lnTo>
                  <a:pt x="1432" y="6100"/>
                </a:lnTo>
                <a:lnTo>
                  <a:pt x="1477" y="6058"/>
                </a:lnTo>
                <a:lnTo>
                  <a:pt x="1524" y="6017"/>
                </a:lnTo>
                <a:lnTo>
                  <a:pt x="1572" y="5976"/>
                </a:lnTo>
                <a:lnTo>
                  <a:pt x="1618" y="5937"/>
                </a:lnTo>
                <a:lnTo>
                  <a:pt x="1668" y="5897"/>
                </a:lnTo>
                <a:lnTo>
                  <a:pt x="1717" y="5859"/>
                </a:lnTo>
                <a:lnTo>
                  <a:pt x="1766" y="5823"/>
                </a:lnTo>
                <a:lnTo>
                  <a:pt x="1816" y="5787"/>
                </a:lnTo>
                <a:lnTo>
                  <a:pt x="1868" y="5752"/>
                </a:lnTo>
                <a:lnTo>
                  <a:pt x="1919" y="5718"/>
                </a:lnTo>
                <a:lnTo>
                  <a:pt x="1971" y="5684"/>
                </a:lnTo>
                <a:lnTo>
                  <a:pt x="2023" y="5653"/>
                </a:lnTo>
                <a:lnTo>
                  <a:pt x="2023" y="3881"/>
                </a:lnTo>
                <a:lnTo>
                  <a:pt x="2474" y="3881"/>
                </a:lnTo>
                <a:close/>
              </a:path>
            </a:pathLst>
          </a:custGeom>
          <a:solidFill>
            <a:srgbClr val="939494"/>
          </a:solidFill>
          <a:ln>
            <a:noFill/>
          </a:ln>
        </p:spPr>
        <p:txBody>
          <a:bodyPr vert="horz" wrap="square" lIns="91440" tIns="45720" rIns="91440" bIns="45720" numCol="1" anchor="t" anchorCtr="0" compatLnSpc="1">
            <a:prstTxWarp prst="textNoShape">
              <a:avLst/>
            </a:prstTxWarp>
          </a:bodyPr>
          <a:lstStyle/>
          <a:p>
            <a:endParaRPr lang="de-DE" dirty="0"/>
          </a:p>
        </p:txBody>
      </p:sp>
      <p:grpSp>
        <p:nvGrpSpPr>
          <p:cNvPr id="83" name="Gruppieren 188">
            <a:extLst>
              <a:ext uri="{FF2B5EF4-FFF2-40B4-BE49-F238E27FC236}">
                <a16:creationId xmlns:a16="http://schemas.microsoft.com/office/drawing/2014/main" id="{2CB0387A-8510-4746-9A94-BDAAC413F812}"/>
              </a:ext>
            </a:extLst>
          </p:cNvPr>
          <p:cNvGrpSpPr>
            <a:grpSpLocks noChangeAspect="1"/>
          </p:cNvGrpSpPr>
          <p:nvPr/>
        </p:nvGrpSpPr>
        <p:grpSpPr>
          <a:xfrm>
            <a:off x="612393" y="6318455"/>
            <a:ext cx="678147" cy="527474"/>
            <a:chOff x="1687513" y="0"/>
            <a:chExt cx="8816975" cy="6858001"/>
          </a:xfrm>
          <a:solidFill>
            <a:srgbClr val="939494"/>
          </a:solidFill>
        </p:grpSpPr>
        <p:sp>
          <p:nvSpPr>
            <p:cNvPr id="85" name="Freeform 134">
              <a:extLst>
                <a:ext uri="{FF2B5EF4-FFF2-40B4-BE49-F238E27FC236}">
                  <a16:creationId xmlns:a16="http://schemas.microsoft.com/office/drawing/2014/main" id="{D8C61505-EC29-48F9-92E5-78D539B4E5BB}"/>
                </a:ext>
              </a:extLst>
            </p:cNvPr>
            <p:cNvSpPr>
              <a:spLocks/>
            </p:cNvSpPr>
            <p:nvPr/>
          </p:nvSpPr>
          <p:spPr bwMode="auto">
            <a:xfrm>
              <a:off x="7869238" y="3275013"/>
              <a:ext cx="1385888" cy="3582988"/>
            </a:xfrm>
            <a:custGeom>
              <a:avLst/>
              <a:gdLst>
                <a:gd name="T0" fmla="*/ 0 w 1746"/>
                <a:gd name="T1" fmla="*/ 1189 h 4513"/>
                <a:gd name="T2" fmla="*/ 0 w 1746"/>
                <a:gd name="T3" fmla="*/ 4513 h 4513"/>
                <a:gd name="T4" fmla="*/ 1746 w 1746"/>
                <a:gd name="T5" fmla="*/ 4513 h 4513"/>
                <a:gd name="T6" fmla="*/ 1746 w 1746"/>
                <a:gd name="T7" fmla="*/ 0 h 4513"/>
                <a:gd name="T8" fmla="*/ 0 w 1746"/>
                <a:gd name="T9" fmla="*/ 1189 h 4513"/>
              </a:gdLst>
              <a:ahLst/>
              <a:cxnLst>
                <a:cxn ang="0">
                  <a:pos x="T0" y="T1"/>
                </a:cxn>
                <a:cxn ang="0">
                  <a:pos x="T2" y="T3"/>
                </a:cxn>
                <a:cxn ang="0">
                  <a:pos x="T4" y="T5"/>
                </a:cxn>
                <a:cxn ang="0">
                  <a:pos x="T6" y="T7"/>
                </a:cxn>
                <a:cxn ang="0">
                  <a:pos x="T8" y="T9"/>
                </a:cxn>
              </a:cxnLst>
              <a:rect l="0" t="0" r="r" b="b"/>
              <a:pathLst>
                <a:path w="1746" h="4513">
                  <a:moveTo>
                    <a:pt x="0" y="1189"/>
                  </a:moveTo>
                  <a:lnTo>
                    <a:pt x="0" y="4513"/>
                  </a:lnTo>
                  <a:lnTo>
                    <a:pt x="1746" y="4513"/>
                  </a:lnTo>
                  <a:lnTo>
                    <a:pt x="1746" y="0"/>
                  </a:lnTo>
                  <a:lnTo>
                    <a:pt x="0" y="1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6" name="Freeform 135">
              <a:extLst>
                <a:ext uri="{FF2B5EF4-FFF2-40B4-BE49-F238E27FC236}">
                  <a16:creationId xmlns:a16="http://schemas.microsoft.com/office/drawing/2014/main" id="{0022C5FA-69D1-49A1-95DC-0B717E21A7D0}"/>
                </a:ext>
              </a:extLst>
            </p:cNvPr>
            <p:cNvSpPr>
              <a:spLocks/>
            </p:cNvSpPr>
            <p:nvPr/>
          </p:nvSpPr>
          <p:spPr bwMode="auto">
            <a:xfrm>
              <a:off x="1687513" y="0"/>
              <a:ext cx="8816975" cy="4024313"/>
            </a:xfrm>
            <a:custGeom>
              <a:avLst/>
              <a:gdLst>
                <a:gd name="T0" fmla="*/ 6697 w 11108"/>
                <a:gd name="T1" fmla="*/ 3702 h 5070"/>
                <a:gd name="T2" fmla="*/ 5569 w 11108"/>
                <a:gd name="T3" fmla="*/ 345 h 5070"/>
                <a:gd name="T4" fmla="*/ 5531 w 11108"/>
                <a:gd name="T5" fmla="*/ 270 h 5070"/>
                <a:gd name="T6" fmla="*/ 5486 w 11108"/>
                <a:gd name="T7" fmla="*/ 204 h 5070"/>
                <a:gd name="T8" fmla="*/ 5433 w 11108"/>
                <a:gd name="T9" fmla="*/ 145 h 5070"/>
                <a:gd name="T10" fmla="*/ 5373 w 11108"/>
                <a:gd name="T11" fmla="*/ 96 h 5070"/>
                <a:gd name="T12" fmla="*/ 5304 w 11108"/>
                <a:gd name="T13" fmla="*/ 57 h 5070"/>
                <a:gd name="T14" fmla="*/ 5232 w 11108"/>
                <a:gd name="T15" fmla="*/ 27 h 5070"/>
                <a:gd name="T16" fmla="*/ 5155 w 11108"/>
                <a:gd name="T17" fmla="*/ 8 h 5070"/>
                <a:gd name="T18" fmla="*/ 5077 w 11108"/>
                <a:gd name="T19" fmla="*/ 0 h 5070"/>
                <a:gd name="T20" fmla="*/ 4997 w 11108"/>
                <a:gd name="T21" fmla="*/ 4 h 5070"/>
                <a:gd name="T22" fmla="*/ 4916 w 11108"/>
                <a:gd name="T23" fmla="*/ 20 h 5070"/>
                <a:gd name="T24" fmla="*/ 4863 w 11108"/>
                <a:gd name="T25" fmla="*/ 39 h 5070"/>
                <a:gd name="T26" fmla="*/ 4789 w 11108"/>
                <a:gd name="T27" fmla="*/ 74 h 5070"/>
                <a:gd name="T28" fmla="*/ 4722 w 11108"/>
                <a:gd name="T29" fmla="*/ 120 h 5070"/>
                <a:gd name="T30" fmla="*/ 4675 w 11108"/>
                <a:gd name="T31" fmla="*/ 153 h 5070"/>
                <a:gd name="T32" fmla="*/ 225 w 11108"/>
                <a:gd name="T33" fmla="*/ 3365 h 5070"/>
                <a:gd name="T34" fmla="*/ 163 w 11108"/>
                <a:gd name="T35" fmla="*/ 3418 h 5070"/>
                <a:gd name="T36" fmla="*/ 110 w 11108"/>
                <a:gd name="T37" fmla="*/ 3478 h 5070"/>
                <a:gd name="T38" fmla="*/ 67 w 11108"/>
                <a:gd name="T39" fmla="*/ 3545 h 5070"/>
                <a:gd name="T40" fmla="*/ 33 w 11108"/>
                <a:gd name="T41" fmla="*/ 3617 h 5070"/>
                <a:gd name="T42" fmla="*/ 12 w 11108"/>
                <a:gd name="T43" fmla="*/ 3692 h 5070"/>
                <a:gd name="T44" fmla="*/ 2 w 11108"/>
                <a:gd name="T45" fmla="*/ 3770 h 5070"/>
                <a:gd name="T46" fmla="*/ 2 w 11108"/>
                <a:gd name="T47" fmla="*/ 3849 h 5070"/>
                <a:gd name="T48" fmla="*/ 14 w 11108"/>
                <a:gd name="T49" fmla="*/ 3925 h 5070"/>
                <a:gd name="T50" fmla="*/ 37 w 11108"/>
                <a:gd name="T51" fmla="*/ 4002 h 5070"/>
                <a:gd name="T52" fmla="*/ 72 w 11108"/>
                <a:gd name="T53" fmla="*/ 4076 h 5070"/>
                <a:gd name="T54" fmla="*/ 104 w 11108"/>
                <a:gd name="T55" fmla="*/ 4123 h 5070"/>
                <a:gd name="T56" fmla="*/ 157 w 11108"/>
                <a:gd name="T57" fmla="*/ 4186 h 5070"/>
                <a:gd name="T58" fmla="*/ 217 w 11108"/>
                <a:gd name="T59" fmla="*/ 4239 h 5070"/>
                <a:gd name="T60" fmla="*/ 284 w 11108"/>
                <a:gd name="T61" fmla="*/ 4282 h 5070"/>
                <a:gd name="T62" fmla="*/ 357 w 11108"/>
                <a:gd name="T63" fmla="*/ 4315 h 5070"/>
                <a:gd name="T64" fmla="*/ 431 w 11108"/>
                <a:gd name="T65" fmla="*/ 4337 h 5070"/>
                <a:gd name="T66" fmla="*/ 509 w 11108"/>
                <a:gd name="T67" fmla="*/ 4346 h 5070"/>
                <a:gd name="T68" fmla="*/ 588 w 11108"/>
                <a:gd name="T69" fmla="*/ 4346 h 5070"/>
                <a:gd name="T70" fmla="*/ 666 w 11108"/>
                <a:gd name="T71" fmla="*/ 4335 h 5070"/>
                <a:gd name="T72" fmla="*/ 743 w 11108"/>
                <a:gd name="T73" fmla="*/ 4311 h 5070"/>
                <a:gd name="T74" fmla="*/ 815 w 11108"/>
                <a:gd name="T75" fmla="*/ 4276 h 5070"/>
                <a:gd name="T76" fmla="*/ 4783 w 11108"/>
                <a:gd name="T77" fmla="*/ 1415 h 5070"/>
                <a:gd name="T78" fmla="*/ 5896 w 11108"/>
                <a:gd name="T79" fmla="*/ 4727 h 5070"/>
                <a:gd name="T80" fmla="*/ 5931 w 11108"/>
                <a:gd name="T81" fmla="*/ 4801 h 5070"/>
                <a:gd name="T82" fmla="*/ 5978 w 11108"/>
                <a:gd name="T83" fmla="*/ 4868 h 5070"/>
                <a:gd name="T84" fmla="*/ 6031 w 11108"/>
                <a:gd name="T85" fmla="*/ 4925 h 5070"/>
                <a:gd name="T86" fmla="*/ 6092 w 11108"/>
                <a:gd name="T87" fmla="*/ 4974 h 5070"/>
                <a:gd name="T88" fmla="*/ 6160 w 11108"/>
                <a:gd name="T89" fmla="*/ 5015 h 5070"/>
                <a:gd name="T90" fmla="*/ 6233 w 11108"/>
                <a:gd name="T91" fmla="*/ 5044 h 5070"/>
                <a:gd name="T92" fmla="*/ 6309 w 11108"/>
                <a:gd name="T93" fmla="*/ 5062 h 5070"/>
                <a:gd name="T94" fmla="*/ 6388 w 11108"/>
                <a:gd name="T95" fmla="*/ 5070 h 5070"/>
                <a:gd name="T96" fmla="*/ 6468 w 11108"/>
                <a:gd name="T97" fmla="*/ 5066 h 5070"/>
                <a:gd name="T98" fmla="*/ 6548 w 11108"/>
                <a:gd name="T99" fmla="*/ 5050 h 5070"/>
                <a:gd name="T100" fmla="*/ 6613 w 11108"/>
                <a:gd name="T101" fmla="*/ 5026 h 5070"/>
                <a:gd name="T102" fmla="*/ 6695 w 11108"/>
                <a:gd name="T103" fmla="*/ 4995 h 5070"/>
                <a:gd name="T104" fmla="*/ 6825 w 11108"/>
                <a:gd name="T105" fmla="*/ 4930 h 5070"/>
                <a:gd name="T106" fmla="*/ 11108 w 11108"/>
                <a:gd name="T107" fmla="*/ 1321 h 5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108" h="5070">
                  <a:moveTo>
                    <a:pt x="8428" y="1603"/>
                  </a:moveTo>
                  <a:lnTo>
                    <a:pt x="8880" y="2230"/>
                  </a:lnTo>
                  <a:lnTo>
                    <a:pt x="6697" y="3702"/>
                  </a:lnTo>
                  <a:lnTo>
                    <a:pt x="5577" y="370"/>
                  </a:lnTo>
                  <a:lnTo>
                    <a:pt x="5577" y="370"/>
                  </a:lnTo>
                  <a:lnTo>
                    <a:pt x="5569" y="345"/>
                  </a:lnTo>
                  <a:lnTo>
                    <a:pt x="5557" y="319"/>
                  </a:lnTo>
                  <a:lnTo>
                    <a:pt x="5545" y="294"/>
                  </a:lnTo>
                  <a:lnTo>
                    <a:pt x="5531" y="270"/>
                  </a:lnTo>
                  <a:lnTo>
                    <a:pt x="5518" y="247"/>
                  </a:lnTo>
                  <a:lnTo>
                    <a:pt x="5502" y="225"/>
                  </a:lnTo>
                  <a:lnTo>
                    <a:pt x="5486" y="204"/>
                  </a:lnTo>
                  <a:lnTo>
                    <a:pt x="5471" y="184"/>
                  </a:lnTo>
                  <a:lnTo>
                    <a:pt x="5451" y="165"/>
                  </a:lnTo>
                  <a:lnTo>
                    <a:pt x="5433" y="145"/>
                  </a:lnTo>
                  <a:lnTo>
                    <a:pt x="5414" y="127"/>
                  </a:lnTo>
                  <a:lnTo>
                    <a:pt x="5392" y="112"/>
                  </a:lnTo>
                  <a:lnTo>
                    <a:pt x="5373" y="96"/>
                  </a:lnTo>
                  <a:lnTo>
                    <a:pt x="5349" y="82"/>
                  </a:lnTo>
                  <a:lnTo>
                    <a:pt x="5328" y="69"/>
                  </a:lnTo>
                  <a:lnTo>
                    <a:pt x="5304" y="57"/>
                  </a:lnTo>
                  <a:lnTo>
                    <a:pt x="5281" y="45"/>
                  </a:lnTo>
                  <a:lnTo>
                    <a:pt x="5257" y="35"/>
                  </a:lnTo>
                  <a:lnTo>
                    <a:pt x="5232" y="27"/>
                  </a:lnTo>
                  <a:lnTo>
                    <a:pt x="5208" y="20"/>
                  </a:lnTo>
                  <a:lnTo>
                    <a:pt x="5183" y="14"/>
                  </a:lnTo>
                  <a:lnTo>
                    <a:pt x="5155" y="8"/>
                  </a:lnTo>
                  <a:lnTo>
                    <a:pt x="5130" y="4"/>
                  </a:lnTo>
                  <a:lnTo>
                    <a:pt x="5104" y="2"/>
                  </a:lnTo>
                  <a:lnTo>
                    <a:pt x="5077" y="0"/>
                  </a:lnTo>
                  <a:lnTo>
                    <a:pt x="5051" y="0"/>
                  </a:lnTo>
                  <a:lnTo>
                    <a:pt x="5024" y="2"/>
                  </a:lnTo>
                  <a:lnTo>
                    <a:pt x="4997" y="4"/>
                  </a:lnTo>
                  <a:lnTo>
                    <a:pt x="4971" y="8"/>
                  </a:lnTo>
                  <a:lnTo>
                    <a:pt x="4944" y="14"/>
                  </a:lnTo>
                  <a:lnTo>
                    <a:pt x="4916" y="20"/>
                  </a:lnTo>
                  <a:lnTo>
                    <a:pt x="4889" y="29"/>
                  </a:lnTo>
                  <a:lnTo>
                    <a:pt x="4889" y="29"/>
                  </a:lnTo>
                  <a:lnTo>
                    <a:pt x="4863" y="39"/>
                  </a:lnTo>
                  <a:lnTo>
                    <a:pt x="4838" y="49"/>
                  </a:lnTo>
                  <a:lnTo>
                    <a:pt x="4812" y="61"/>
                  </a:lnTo>
                  <a:lnTo>
                    <a:pt x="4789" y="74"/>
                  </a:lnTo>
                  <a:lnTo>
                    <a:pt x="4765" y="88"/>
                  </a:lnTo>
                  <a:lnTo>
                    <a:pt x="4744" y="104"/>
                  </a:lnTo>
                  <a:lnTo>
                    <a:pt x="4722" y="120"/>
                  </a:lnTo>
                  <a:lnTo>
                    <a:pt x="4703" y="137"/>
                  </a:lnTo>
                  <a:lnTo>
                    <a:pt x="4703" y="137"/>
                  </a:lnTo>
                  <a:lnTo>
                    <a:pt x="4675" y="153"/>
                  </a:lnTo>
                  <a:lnTo>
                    <a:pt x="4650" y="170"/>
                  </a:lnTo>
                  <a:lnTo>
                    <a:pt x="225" y="3365"/>
                  </a:lnTo>
                  <a:lnTo>
                    <a:pt x="225" y="3365"/>
                  </a:lnTo>
                  <a:lnTo>
                    <a:pt x="204" y="3380"/>
                  </a:lnTo>
                  <a:lnTo>
                    <a:pt x="182" y="3398"/>
                  </a:lnTo>
                  <a:lnTo>
                    <a:pt x="163" y="3418"/>
                  </a:lnTo>
                  <a:lnTo>
                    <a:pt x="143" y="3437"/>
                  </a:lnTo>
                  <a:lnTo>
                    <a:pt x="125" y="3457"/>
                  </a:lnTo>
                  <a:lnTo>
                    <a:pt x="110" y="3478"/>
                  </a:lnTo>
                  <a:lnTo>
                    <a:pt x="94" y="3500"/>
                  </a:lnTo>
                  <a:lnTo>
                    <a:pt x="78" y="3521"/>
                  </a:lnTo>
                  <a:lnTo>
                    <a:pt x="67" y="3545"/>
                  </a:lnTo>
                  <a:lnTo>
                    <a:pt x="55" y="3568"/>
                  </a:lnTo>
                  <a:lnTo>
                    <a:pt x="43" y="3592"/>
                  </a:lnTo>
                  <a:lnTo>
                    <a:pt x="33" y="3617"/>
                  </a:lnTo>
                  <a:lnTo>
                    <a:pt x="25" y="3641"/>
                  </a:lnTo>
                  <a:lnTo>
                    <a:pt x="18" y="3666"/>
                  </a:lnTo>
                  <a:lnTo>
                    <a:pt x="12" y="3692"/>
                  </a:lnTo>
                  <a:lnTo>
                    <a:pt x="8" y="3717"/>
                  </a:lnTo>
                  <a:lnTo>
                    <a:pt x="4" y="3743"/>
                  </a:lnTo>
                  <a:lnTo>
                    <a:pt x="2" y="3770"/>
                  </a:lnTo>
                  <a:lnTo>
                    <a:pt x="0" y="3796"/>
                  </a:lnTo>
                  <a:lnTo>
                    <a:pt x="0" y="3821"/>
                  </a:lnTo>
                  <a:lnTo>
                    <a:pt x="2" y="3849"/>
                  </a:lnTo>
                  <a:lnTo>
                    <a:pt x="4" y="3874"/>
                  </a:lnTo>
                  <a:lnTo>
                    <a:pt x="8" y="3900"/>
                  </a:lnTo>
                  <a:lnTo>
                    <a:pt x="14" y="3925"/>
                  </a:lnTo>
                  <a:lnTo>
                    <a:pt x="20" y="3953"/>
                  </a:lnTo>
                  <a:lnTo>
                    <a:pt x="27" y="3978"/>
                  </a:lnTo>
                  <a:lnTo>
                    <a:pt x="37" y="4002"/>
                  </a:lnTo>
                  <a:lnTo>
                    <a:pt x="47" y="4027"/>
                  </a:lnTo>
                  <a:lnTo>
                    <a:pt x="59" y="4053"/>
                  </a:lnTo>
                  <a:lnTo>
                    <a:pt x="72" y="4076"/>
                  </a:lnTo>
                  <a:lnTo>
                    <a:pt x="86" y="4100"/>
                  </a:lnTo>
                  <a:lnTo>
                    <a:pt x="104" y="4123"/>
                  </a:lnTo>
                  <a:lnTo>
                    <a:pt x="104" y="4123"/>
                  </a:lnTo>
                  <a:lnTo>
                    <a:pt x="120" y="4145"/>
                  </a:lnTo>
                  <a:lnTo>
                    <a:pt x="137" y="4166"/>
                  </a:lnTo>
                  <a:lnTo>
                    <a:pt x="157" y="4186"/>
                  </a:lnTo>
                  <a:lnTo>
                    <a:pt x="176" y="4205"/>
                  </a:lnTo>
                  <a:lnTo>
                    <a:pt x="196" y="4223"/>
                  </a:lnTo>
                  <a:lnTo>
                    <a:pt x="217" y="4239"/>
                  </a:lnTo>
                  <a:lnTo>
                    <a:pt x="239" y="4254"/>
                  </a:lnTo>
                  <a:lnTo>
                    <a:pt x="261" y="4268"/>
                  </a:lnTo>
                  <a:lnTo>
                    <a:pt x="284" y="4282"/>
                  </a:lnTo>
                  <a:lnTo>
                    <a:pt x="308" y="4294"/>
                  </a:lnTo>
                  <a:lnTo>
                    <a:pt x="331" y="4305"/>
                  </a:lnTo>
                  <a:lnTo>
                    <a:pt x="357" y="4315"/>
                  </a:lnTo>
                  <a:lnTo>
                    <a:pt x="380" y="4323"/>
                  </a:lnTo>
                  <a:lnTo>
                    <a:pt x="406" y="4331"/>
                  </a:lnTo>
                  <a:lnTo>
                    <a:pt x="431" y="4337"/>
                  </a:lnTo>
                  <a:lnTo>
                    <a:pt x="457" y="4341"/>
                  </a:lnTo>
                  <a:lnTo>
                    <a:pt x="482" y="4344"/>
                  </a:lnTo>
                  <a:lnTo>
                    <a:pt x="509" y="4346"/>
                  </a:lnTo>
                  <a:lnTo>
                    <a:pt x="535" y="4348"/>
                  </a:lnTo>
                  <a:lnTo>
                    <a:pt x="560" y="4346"/>
                  </a:lnTo>
                  <a:lnTo>
                    <a:pt x="588" y="4346"/>
                  </a:lnTo>
                  <a:lnTo>
                    <a:pt x="613" y="4343"/>
                  </a:lnTo>
                  <a:lnTo>
                    <a:pt x="639" y="4339"/>
                  </a:lnTo>
                  <a:lnTo>
                    <a:pt x="666" y="4335"/>
                  </a:lnTo>
                  <a:lnTo>
                    <a:pt x="692" y="4327"/>
                  </a:lnTo>
                  <a:lnTo>
                    <a:pt x="717" y="4319"/>
                  </a:lnTo>
                  <a:lnTo>
                    <a:pt x="743" y="4311"/>
                  </a:lnTo>
                  <a:lnTo>
                    <a:pt x="766" y="4299"/>
                  </a:lnTo>
                  <a:lnTo>
                    <a:pt x="792" y="4288"/>
                  </a:lnTo>
                  <a:lnTo>
                    <a:pt x="815" y="4276"/>
                  </a:lnTo>
                  <a:lnTo>
                    <a:pt x="839" y="4260"/>
                  </a:lnTo>
                  <a:lnTo>
                    <a:pt x="862" y="4245"/>
                  </a:lnTo>
                  <a:lnTo>
                    <a:pt x="4783" y="1415"/>
                  </a:lnTo>
                  <a:lnTo>
                    <a:pt x="5886" y="4701"/>
                  </a:lnTo>
                  <a:lnTo>
                    <a:pt x="5886" y="4701"/>
                  </a:lnTo>
                  <a:lnTo>
                    <a:pt x="5896" y="4727"/>
                  </a:lnTo>
                  <a:lnTo>
                    <a:pt x="5908" y="4752"/>
                  </a:lnTo>
                  <a:lnTo>
                    <a:pt x="5919" y="4778"/>
                  </a:lnTo>
                  <a:lnTo>
                    <a:pt x="5931" y="4801"/>
                  </a:lnTo>
                  <a:lnTo>
                    <a:pt x="5947" y="4825"/>
                  </a:lnTo>
                  <a:lnTo>
                    <a:pt x="5961" y="4846"/>
                  </a:lnTo>
                  <a:lnTo>
                    <a:pt x="5978" y="4868"/>
                  </a:lnTo>
                  <a:lnTo>
                    <a:pt x="5994" y="4887"/>
                  </a:lnTo>
                  <a:lnTo>
                    <a:pt x="6013" y="4907"/>
                  </a:lnTo>
                  <a:lnTo>
                    <a:pt x="6031" y="4925"/>
                  </a:lnTo>
                  <a:lnTo>
                    <a:pt x="6051" y="4942"/>
                  </a:lnTo>
                  <a:lnTo>
                    <a:pt x="6072" y="4958"/>
                  </a:lnTo>
                  <a:lnTo>
                    <a:pt x="6092" y="4974"/>
                  </a:lnTo>
                  <a:lnTo>
                    <a:pt x="6115" y="4989"/>
                  </a:lnTo>
                  <a:lnTo>
                    <a:pt x="6137" y="5001"/>
                  </a:lnTo>
                  <a:lnTo>
                    <a:pt x="6160" y="5015"/>
                  </a:lnTo>
                  <a:lnTo>
                    <a:pt x="6184" y="5024"/>
                  </a:lnTo>
                  <a:lnTo>
                    <a:pt x="6207" y="5034"/>
                  </a:lnTo>
                  <a:lnTo>
                    <a:pt x="6233" y="5044"/>
                  </a:lnTo>
                  <a:lnTo>
                    <a:pt x="6258" y="5052"/>
                  </a:lnTo>
                  <a:lnTo>
                    <a:pt x="6282" y="5058"/>
                  </a:lnTo>
                  <a:lnTo>
                    <a:pt x="6309" y="5062"/>
                  </a:lnTo>
                  <a:lnTo>
                    <a:pt x="6335" y="5066"/>
                  </a:lnTo>
                  <a:lnTo>
                    <a:pt x="6360" y="5070"/>
                  </a:lnTo>
                  <a:lnTo>
                    <a:pt x="6388" y="5070"/>
                  </a:lnTo>
                  <a:lnTo>
                    <a:pt x="6413" y="5070"/>
                  </a:lnTo>
                  <a:lnTo>
                    <a:pt x="6441" y="5070"/>
                  </a:lnTo>
                  <a:lnTo>
                    <a:pt x="6468" y="5066"/>
                  </a:lnTo>
                  <a:lnTo>
                    <a:pt x="6494" y="5062"/>
                  </a:lnTo>
                  <a:lnTo>
                    <a:pt x="6521" y="5058"/>
                  </a:lnTo>
                  <a:lnTo>
                    <a:pt x="6548" y="5050"/>
                  </a:lnTo>
                  <a:lnTo>
                    <a:pt x="6576" y="5042"/>
                  </a:lnTo>
                  <a:lnTo>
                    <a:pt x="6576" y="5042"/>
                  </a:lnTo>
                  <a:lnTo>
                    <a:pt x="6613" y="5026"/>
                  </a:lnTo>
                  <a:lnTo>
                    <a:pt x="6650" y="5009"/>
                  </a:lnTo>
                  <a:lnTo>
                    <a:pt x="6650" y="5009"/>
                  </a:lnTo>
                  <a:lnTo>
                    <a:pt x="6695" y="4995"/>
                  </a:lnTo>
                  <a:lnTo>
                    <a:pt x="6740" y="4979"/>
                  </a:lnTo>
                  <a:lnTo>
                    <a:pt x="6784" y="4958"/>
                  </a:lnTo>
                  <a:lnTo>
                    <a:pt x="6825" y="4930"/>
                  </a:lnTo>
                  <a:lnTo>
                    <a:pt x="9515" y="3112"/>
                  </a:lnTo>
                  <a:lnTo>
                    <a:pt x="10009" y="3798"/>
                  </a:lnTo>
                  <a:lnTo>
                    <a:pt x="11108" y="1321"/>
                  </a:lnTo>
                  <a:lnTo>
                    <a:pt x="8428" y="16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3" name="Freeform 136">
              <a:extLst>
                <a:ext uri="{FF2B5EF4-FFF2-40B4-BE49-F238E27FC236}">
                  <a16:creationId xmlns:a16="http://schemas.microsoft.com/office/drawing/2014/main" id="{E37CC0A3-88C1-4C78-9BCA-A01DBB842EBD}"/>
                </a:ext>
              </a:extLst>
            </p:cNvPr>
            <p:cNvSpPr>
              <a:spLocks/>
            </p:cNvSpPr>
            <p:nvPr/>
          </p:nvSpPr>
          <p:spPr bwMode="auto">
            <a:xfrm>
              <a:off x="4070351" y="2190750"/>
              <a:ext cx="1260475" cy="4667250"/>
            </a:xfrm>
            <a:custGeom>
              <a:avLst/>
              <a:gdLst>
                <a:gd name="T0" fmla="*/ 0 w 1589"/>
                <a:gd name="T1" fmla="*/ 1021 h 5881"/>
                <a:gd name="T2" fmla="*/ 0 w 1589"/>
                <a:gd name="T3" fmla="*/ 5881 h 5881"/>
                <a:gd name="T4" fmla="*/ 1589 w 1589"/>
                <a:gd name="T5" fmla="*/ 5881 h 5881"/>
                <a:gd name="T6" fmla="*/ 1589 w 1589"/>
                <a:gd name="T7" fmla="*/ 365 h 5881"/>
                <a:gd name="T8" fmla="*/ 1454 w 1589"/>
                <a:gd name="T9" fmla="*/ 0 h 5881"/>
                <a:gd name="T10" fmla="*/ 0 w 1589"/>
                <a:gd name="T11" fmla="*/ 1021 h 5881"/>
              </a:gdLst>
              <a:ahLst/>
              <a:cxnLst>
                <a:cxn ang="0">
                  <a:pos x="T0" y="T1"/>
                </a:cxn>
                <a:cxn ang="0">
                  <a:pos x="T2" y="T3"/>
                </a:cxn>
                <a:cxn ang="0">
                  <a:pos x="T4" y="T5"/>
                </a:cxn>
                <a:cxn ang="0">
                  <a:pos x="T6" y="T7"/>
                </a:cxn>
                <a:cxn ang="0">
                  <a:pos x="T8" y="T9"/>
                </a:cxn>
                <a:cxn ang="0">
                  <a:pos x="T10" y="T11"/>
                </a:cxn>
              </a:cxnLst>
              <a:rect l="0" t="0" r="r" b="b"/>
              <a:pathLst>
                <a:path w="1589" h="5881">
                  <a:moveTo>
                    <a:pt x="0" y="1021"/>
                  </a:moveTo>
                  <a:lnTo>
                    <a:pt x="0" y="5881"/>
                  </a:lnTo>
                  <a:lnTo>
                    <a:pt x="1589" y="5881"/>
                  </a:lnTo>
                  <a:lnTo>
                    <a:pt x="1589" y="365"/>
                  </a:lnTo>
                  <a:lnTo>
                    <a:pt x="1454" y="0"/>
                  </a:lnTo>
                  <a:lnTo>
                    <a:pt x="0" y="10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5" name="Freeform 137">
              <a:extLst>
                <a:ext uri="{FF2B5EF4-FFF2-40B4-BE49-F238E27FC236}">
                  <a16:creationId xmlns:a16="http://schemas.microsoft.com/office/drawing/2014/main" id="{DCE11EE5-9161-4810-9F5B-6DF62F60A026}"/>
                </a:ext>
              </a:extLst>
            </p:cNvPr>
            <p:cNvSpPr>
              <a:spLocks/>
            </p:cNvSpPr>
            <p:nvPr/>
          </p:nvSpPr>
          <p:spPr bwMode="auto">
            <a:xfrm>
              <a:off x="2074863" y="3392488"/>
              <a:ext cx="1438275" cy="3465513"/>
            </a:xfrm>
            <a:custGeom>
              <a:avLst/>
              <a:gdLst>
                <a:gd name="T0" fmla="*/ 0 w 1812"/>
                <a:gd name="T1" fmla="*/ 1276 h 4366"/>
                <a:gd name="T2" fmla="*/ 0 w 1812"/>
                <a:gd name="T3" fmla="*/ 4366 h 4366"/>
                <a:gd name="T4" fmla="*/ 1812 w 1812"/>
                <a:gd name="T5" fmla="*/ 4366 h 4366"/>
                <a:gd name="T6" fmla="*/ 1812 w 1812"/>
                <a:gd name="T7" fmla="*/ 0 h 4366"/>
                <a:gd name="T8" fmla="*/ 0 w 1812"/>
                <a:gd name="T9" fmla="*/ 1276 h 4366"/>
              </a:gdLst>
              <a:ahLst/>
              <a:cxnLst>
                <a:cxn ang="0">
                  <a:pos x="T0" y="T1"/>
                </a:cxn>
                <a:cxn ang="0">
                  <a:pos x="T2" y="T3"/>
                </a:cxn>
                <a:cxn ang="0">
                  <a:pos x="T4" y="T5"/>
                </a:cxn>
                <a:cxn ang="0">
                  <a:pos x="T6" y="T7"/>
                </a:cxn>
                <a:cxn ang="0">
                  <a:pos x="T8" y="T9"/>
                </a:cxn>
              </a:cxnLst>
              <a:rect l="0" t="0" r="r" b="b"/>
              <a:pathLst>
                <a:path w="1812" h="4366">
                  <a:moveTo>
                    <a:pt x="0" y="1276"/>
                  </a:moveTo>
                  <a:lnTo>
                    <a:pt x="0" y="4366"/>
                  </a:lnTo>
                  <a:lnTo>
                    <a:pt x="1812" y="4366"/>
                  </a:lnTo>
                  <a:lnTo>
                    <a:pt x="1812" y="0"/>
                  </a:lnTo>
                  <a:lnTo>
                    <a:pt x="0" y="1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6" name="Freeform 138">
              <a:extLst>
                <a:ext uri="{FF2B5EF4-FFF2-40B4-BE49-F238E27FC236}">
                  <a16:creationId xmlns:a16="http://schemas.microsoft.com/office/drawing/2014/main" id="{E82AEF96-92DA-44DC-B70E-95A103F967FC}"/>
                </a:ext>
              </a:extLst>
            </p:cNvPr>
            <p:cNvSpPr>
              <a:spLocks/>
            </p:cNvSpPr>
            <p:nvPr/>
          </p:nvSpPr>
          <p:spPr bwMode="auto">
            <a:xfrm>
              <a:off x="5889626" y="3984625"/>
              <a:ext cx="1431925" cy="2873375"/>
            </a:xfrm>
            <a:custGeom>
              <a:avLst/>
              <a:gdLst>
                <a:gd name="T0" fmla="*/ 4 w 1803"/>
                <a:gd name="T1" fmla="*/ 17 h 3619"/>
                <a:gd name="T2" fmla="*/ 0 w 1803"/>
                <a:gd name="T3" fmla="*/ 0 h 3619"/>
                <a:gd name="T4" fmla="*/ 0 w 1803"/>
                <a:gd name="T5" fmla="*/ 31 h 3619"/>
                <a:gd name="T6" fmla="*/ 0 w 1803"/>
                <a:gd name="T7" fmla="*/ 3619 h 3619"/>
                <a:gd name="T8" fmla="*/ 1791 w 1803"/>
                <a:gd name="T9" fmla="*/ 3619 h 3619"/>
                <a:gd name="T10" fmla="*/ 1791 w 1803"/>
                <a:gd name="T11" fmla="*/ 3605 h 3619"/>
                <a:gd name="T12" fmla="*/ 1803 w 1803"/>
                <a:gd name="T13" fmla="*/ 3619 h 3619"/>
                <a:gd name="T14" fmla="*/ 1803 w 1803"/>
                <a:gd name="T15" fmla="*/ 678 h 3619"/>
                <a:gd name="T16" fmla="*/ 1803 w 1803"/>
                <a:gd name="T17" fmla="*/ 678 h 3619"/>
                <a:gd name="T18" fmla="*/ 1740 w 1803"/>
                <a:gd name="T19" fmla="*/ 703 h 3619"/>
                <a:gd name="T20" fmla="*/ 1680 w 1803"/>
                <a:gd name="T21" fmla="*/ 725 h 3619"/>
                <a:gd name="T22" fmla="*/ 1619 w 1803"/>
                <a:gd name="T23" fmla="*/ 746 h 3619"/>
                <a:gd name="T24" fmla="*/ 1562 w 1803"/>
                <a:gd name="T25" fmla="*/ 764 h 3619"/>
                <a:gd name="T26" fmla="*/ 1503 w 1803"/>
                <a:gd name="T27" fmla="*/ 779 h 3619"/>
                <a:gd name="T28" fmla="*/ 1448 w 1803"/>
                <a:gd name="T29" fmla="*/ 795 h 3619"/>
                <a:gd name="T30" fmla="*/ 1394 w 1803"/>
                <a:gd name="T31" fmla="*/ 807 h 3619"/>
                <a:gd name="T32" fmla="*/ 1341 w 1803"/>
                <a:gd name="T33" fmla="*/ 817 h 3619"/>
                <a:gd name="T34" fmla="*/ 1290 w 1803"/>
                <a:gd name="T35" fmla="*/ 827 h 3619"/>
                <a:gd name="T36" fmla="*/ 1239 w 1803"/>
                <a:gd name="T37" fmla="*/ 832 h 3619"/>
                <a:gd name="T38" fmla="*/ 1188 w 1803"/>
                <a:gd name="T39" fmla="*/ 838 h 3619"/>
                <a:gd name="T40" fmla="*/ 1141 w 1803"/>
                <a:gd name="T41" fmla="*/ 842 h 3619"/>
                <a:gd name="T42" fmla="*/ 1094 w 1803"/>
                <a:gd name="T43" fmla="*/ 844 h 3619"/>
                <a:gd name="T44" fmla="*/ 1049 w 1803"/>
                <a:gd name="T45" fmla="*/ 844 h 3619"/>
                <a:gd name="T46" fmla="*/ 1004 w 1803"/>
                <a:gd name="T47" fmla="*/ 844 h 3619"/>
                <a:gd name="T48" fmla="*/ 960 w 1803"/>
                <a:gd name="T49" fmla="*/ 842 h 3619"/>
                <a:gd name="T50" fmla="*/ 917 w 1803"/>
                <a:gd name="T51" fmla="*/ 838 h 3619"/>
                <a:gd name="T52" fmla="*/ 876 w 1803"/>
                <a:gd name="T53" fmla="*/ 832 h 3619"/>
                <a:gd name="T54" fmla="*/ 837 w 1803"/>
                <a:gd name="T55" fmla="*/ 827 h 3619"/>
                <a:gd name="T56" fmla="*/ 798 w 1803"/>
                <a:gd name="T57" fmla="*/ 819 h 3619"/>
                <a:gd name="T58" fmla="*/ 761 w 1803"/>
                <a:gd name="T59" fmla="*/ 809 h 3619"/>
                <a:gd name="T60" fmla="*/ 723 w 1803"/>
                <a:gd name="T61" fmla="*/ 799 h 3619"/>
                <a:gd name="T62" fmla="*/ 688 w 1803"/>
                <a:gd name="T63" fmla="*/ 789 h 3619"/>
                <a:gd name="T64" fmla="*/ 653 w 1803"/>
                <a:gd name="T65" fmla="*/ 776 h 3619"/>
                <a:gd name="T66" fmla="*/ 620 w 1803"/>
                <a:gd name="T67" fmla="*/ 764 h 3619"/>
                <a:gd name="T68" fmla="*/ 588 w 1803"/>
                <a:gd name="T69" fmla="*/ 750 h 3619"/>
                <a:gd name="T70" fmla="*/ 557 w 1803"/>
                <a:gd name="T71" fmla="*/ 734 h 3619"/>
                <a:gd name="T72" fmla="*/ 527 w 1803"/>
                <a:gd name="T73" fmla="*/ 719 h 3619"/>
                <a:gd name="T74" fmla="*/ 469 w 1803"/>
                <a:gd name="T75" fmla="*/ 685 h 3619"/>
                <a:gd name="T76" fmla="*/ 416 w 1803"/>
                <a:gd name="T77" fmla="*/ 648 h 3619"/>
                <a:gd name="T78" fmla="*/ 365 w 1803"/>
                <a:gd name="T79" fmla="*/ 609 h 3619"/>
                <a:gd name="T80" fmla="*/ 320 w 1803"/>
                <a:gd name="T81" fmla="*/ 568 h 3619"/>
                <a:gd name="T82" fmla="*/ 277 w 1803"/>
                <a:gd name="T83" fmla="*/ 525 h 3619"/>
                <a:gd name="T84" fmla="*/ 237 w 1803"/>
                <a:gd name="T85" fmla="*/ 482 h 3619"/>
                <a:gd name="T86" fmla="*/ 202 w 1803"/>
                <a:gd name="T87" fmla="*/ 437 h 3619"/>
                <a:gd name="T88" fmla="*/ 171 w 1803"/>
                <a:gd name="T89" fmla="*/ 393 h 3619"/>
                <a:gd name="T90" fmla="*/ 141 w 1803"/>
                <a:gd name="T91" fmla="*/ 348 h 3619"/>
                <a:gd name="T92" fmla="*/ 116 w 1803"/>
                <a:gd name="T93" fmla="*/ 303 h 3619"/>
                <a:gd name="T94" fmla="*/ 92 w 1803"/>
                <a:gd name="T95" fmla="*/ 260 h 3619"/>
                <a:gd name="T96" fmla="*/ 73 w 1803"/>
                <a:gd name="T97" fmla="*/ 219 h 3619"/>
                <a:gd name="T98" fmla="*/ 55 w 1803"/>
                <a:gd name="T99" fmla="*/ 178 h 3619"/>
                <a:gd name="T100" fmla="*/ 40 w 1803"/>
                <a:gd name="T101" fmla="*/ 141 h 3619"/>
                <a:gd name="T102" fmla="*/ 28 w 1803"/>
                <a:gd name="T103" fmla="*/ 105 h 3619"/>
                <a:gd name="T104" fmla="*/ 18 w 1803"/>
                <a:gd name="T105" fmla="*/ 72 h 3619"/>
                <a:gd name="T106" fmla="*/ 10 w 1803"/>
                <a:gd name="T107" fmla="*/ 43 h 3619"/>
                <a:gd name="T108" fmla="*/ 4 w 1803"/>
                <a:gd name="T109" fmla="*/ 17 h 3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03" h="3619">
                  <a:moveTo>
                    <a:pt x="4" y="17"/>
                  </a:moveTo>
                  <a:lnTo>
                    <a:pt x="0" y="0"/>
                  </a:lnTo>
                  <a:lnTo>
                    <a:pt x="0" y="31"/>
                  </a:lnTo>
                  <a:lnTo>
                    <a:pt x="0" y="3619"/>
                  </a:lnTo>
                  <a:lnTo>
                    <a:pt x="1791" y="3619"/>
                  </a:lnTo>
                  <a:lnTo>
                    <a:pt x="1791" y="3605"/>
                  </a:lnTo>
                  <a:lnTo>
                    <a:pt x="1803" y="3619"/>
                  </a:lnTo>
                  <a:lnTo>
                    <a:pt x="1803" y="678"/>
                  </a:lnTo>
                  <a:lnTo>
                    <a:pt x="1803" y="678"/>
                  </a:lnTo>
                  <a:lnTo>
                    <a:pt x="1740" y="703"/>
                  </a:lnTo>
                  <a:lnTo>
                    <a:pt x="1680" y="725"/>
                  </a:lnTo>
                  <a:lnTo>
                    <a:pt x="1619" y="746"/>
                  </a:lnTo>
                  <a:lnTo>
                    <a:pt x="1562" y="764"/>
                  </a:lnTo>
                  <a:lnTo>
                    <a:pt x="1503" y="779"/>
                  </a:lnTo>
                  <a:lnTo>
                    <a:pt x="1448" y="795"/>
                  </a:lnTo>
                  <a:lnTo>
                    <a:pt x="1394" y="807"/>
                  </a:lnTo>
                  <a:lnTo>
                    <a:pt x="1341" y="817"/>
                  </a:lnTo>
                  <a:lnTo>
                    <a:pt x="1290" y="827"/>
                  </a:lnTo>
                  <a:lnTo>
                    <a:pt x="1239" y="832"/>
                  </a:lnTo>
                  <a:lnTo>
                    <a:pt x="1188" y="838"/>
                  </a:lnTo>
                  <a:lnTo>
                    <a:pt x="1141" y="842"/>
                  </a:lnTo>
                  <a:lnTo>
                    <a:pt x="1094" y="844"/>
                  </a:lnTo>
                  <a:lnTo>
                    <a:pt x="1049" y="844"/>
                  </a:lnTo>
                  <a:lnTo>
                    <a:pt x="1004" y="844"/>
                  </a:lnTo>
                  <a:lnTo>
                    <a:pt x="960" y="842"/>
                  </a:lnTo>
                  <a:lnTo>
                    <a:pt x="917" y="838"/>
                  </a:lnTo>
                  <a:lnTo>
                    <a:pt x="876" y="832"/>
                  </a:lnTo>
                  <a:lnTo>
                    <a:pt x="837" y="827"/>
                  </a:lnTo>
                  <a:lnTo>
                    <a:pt x="798" y="819"/>
                  </a:lnTo>
                  <a:lnTo>
                    <a:pt x="761" y="809"/>
                  </a:lnTo>
                  <a:lnTo>
                    <a:pt x="723" y="799"/>
                  </a:lnTo>
                  <a:lnTo>
                    <a:pt x="688" y="789"/>
                  </a:lnTo>
                  <a:lnTo>
                    <a:pt x="653" y="776"/>
                  </a:lnTo>
                  <a:lnTo>
                    <a:pt x="620" y="764"/>
                  </a:lnTo>
                  <a:lnTo>
                    <a:pt x="588" y="750"/>
                  </a:lnTo>
                  <a:lnTo>
                    <a:pt x="557" y="734"/>
                  </a:lnTo>
                  <a:lnTo>
                    <a:pt x="527" y="719"/>
                  </a:lnTo>
                  <a:lnTo>
                    <a:pt x="469" y="685"/>
                  </a:lnTo>
                  <a:lnTo>
                    <a:pt x="416" y="648"/>
                  </a:lnTo>
                  <a:lnTo>
                    <a:pt x="365" y="609"/>
                  </a:lnTo>
                  <a:lnTo>
                    <a:pt x="320" y="568"/>
                  </a:lnTo>
                  <a:lnTo>
                    <a:pt x="277" y="525"/>
                  </a:lnTo>
                  <a:lnTo>
                    <a:pt x="237" y="482"/>
                  </a:lnTo>
                  <a:lnTo>
                    <a:pt x="202" y="437"/>
                  </a:lnTo>
                  <a:lnTo>
                    <a:pt x="171" y="393"/>
                  </a:lnTo>
                  <a:lnTo>
                    <a:pt x="141" y="348"/>
                  </a:lnTo>
                  <a:lnTo>
                    <a:pt x="116" y="303"/>
                  </a:lnTo>
                  <a:lnTo>
                    <a:pt x="92" y="260"/>
                  </a:lnTo>
                  <a:lnTo>
                    <a:pt x="73" y="219"/>
                  </a:lnTo>
                  <a:lnTo>
                    <a:pt x="55" y="178"/>
                  </a:lnTo>
                  <a:lnTo>
                    <a:pt x="40" y="141"/>
                  </a:lnTo>
                  <a:lnTo>
                    <a:pt x="28" y="105"/>
                  </a:lnTo>
                  <a:lnTo>
                    <a:pt x="18" y="72"/>
                  </a:lnTo>
                  <a:lnTo>
                    <a:pt x="10" y="43"/>
                  </a:lnTo>
                  <a:lnTo>
                    <a:pt x="4"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nvGrpSpPr>
          <p:cNvPr id="101" name="Gruppieren 251">
            <a:extLst>
              <a:ext uri="{FF2B5EF4-FFF2-40B4-BE49-F238E27FC236}">
                <a16:creationId xmlns:a16="http://schemas.microsoft.com/office/drawing/2014/main" id="{B50A01A1-6CC3-4ECD-B037-D9EDD76B7A9B}"/>
              </a:ext>
            </a:extLst>
          </p:cNvPr>
          <p:cNvGrpSpPr>
            <a:grpSpLocks noChangeAspect="1"/>
          </p:cNvGrpSpPr>
          <p:nvPr/>
        </p:nvGrpSpPr>
        <p:grpSpPr>
          <a:xfrm>
            <a:off x="615888" y="8528427"/>
            <a:ext cx="671156" cy="374505"/>
            <a:chOff x="2921000" y="1657350"/>
            <a:chExt cx="6350000" cy="3543300"/>
          </a:xfrm>
          <a:solidFill>
            <a:srgbClr val="939494"/>
          </a:solidFill>
        </p:grpSpPr>
        <p:sp>
          <p:nvSpPr>
            <p:cNvPr id="107" name="Freeform 195">
              <a:extLst>
                <a:ext uri="{FF2B5EF4-FFF2-40B4-BE49-F238E27FC236}">
                  <a16:creationId xmlns:a16="http://schemas.microsoft.com/office/drawing/2014/main" id="{395DACE2-638C-42A7-968C-8C9340E0BFF5}"/>
                </a:ext>
              </a:extLst>
            </p:cNvPr>
            <p:cNvSpPr>
              <a:spLocks noEditPoints="1"/>
            </p:cNvSpPr>
            <p:nvPr/>
          </p:nvSpPr>
          <p:spPr bwMode="auto">
            <a:xfrm>
              <a:off x="5229225" y="3263900"/>
              <a:ext cx="1593850" cy="1851025"/>
            </a:xfrm>
            <a:custGeom>
              <a:avLst/>
              <a:gdLst>
                <a:gd name="T0" fmla="*/ 856 w 1004"/>
                <a:gd name="T1" fmla="*/ 142 h 1166"/>
                <a:gd name="T2" fmla="*/ 778 w 1004"/>
                <a:gd name="T3" fmla="*/ 76 h 1166"/>
                <a:gd name="T4" fmla="*/ 708 w 1004"/>
                <a:gd name="T5" fmla="*/ 38 h 1166"/>
                <a:gd name="T6" fmla="*/ 598 w 1004"/>
                <a:gd name="T7" fmla="*/ 8 h 1166"/>
                <a:gd name="T8" fmla="*/ 506 w 1004"/>
                <a:gd name="T9" fmla="*/ 0 h 1166"/>
                <a:gd name="T10" fmla="*/ 382 w 1004"/>
                <a:gd name="T11" fmla="*/ 12 h 1166"/>
                <a:gd name="T12" fmla="*/ 278 w 1004"/>
                <a:gd name="T13" fmla="*/ 50 h 1166"/>
                <a:gd name="T14" fmla="*/ 210 w 1004"/>
                <a:gd name="T15" fmla="*/ 94 h 1166"/>
                <a:gd name="T16" fmla="*/ 136 w 1004"/>
                <a:gd name="T17" fmla="*/ 164 h 1166"/>
                <a:gd name="T18" fmla="*/ 92 w 1004"/>
                <a:gd name="T19" fmla="*/ 226 h 1166"/>
                <a:gd name="T20" fmla="*/ 30 w 1004"/>
                <a:gd name="T21" fmla="*/ 370 h 1166"/>
                <a:gd name="T22" fmla="*/ 2 w 1004"/>
                <a:gd name="T23" fmla="*/ 531 h 1166"/>
                <a:gd name="T24" fmla="*/ 8 w 1004"/>
                <a:gd name="T25" fmla="*/ 693 h 1166"/>
                <a:gd name="T26" fmla="*/ 36 w 1004"/>
                <a:gd name="T27" fmla="*/ 823 h 1166"/>
                <a:gd name="T28" fmla="*/ 78 w 1004"/>
                <a:gd name="T29" fmla="*/ 919 h 1166"/>
                <a:gd name="T30" fmla="*/ 120 w 1004"/>
                <a:gd name="T31" fmla="*/ 986 h 1166"/>
                <a:gd name="T32" fmla="*/ 190 w 1004"/>
                <a:gd name="T33" fmla="*/ 1060 h 1166"/>
                <a:gd name="T34" fmla="*/ 276 w 1004"/>
                <a:gd name="T35" fmla="*/ 1116 h 1166"/>
                <a:gd name="T36" fmla="*/ 352 w 1004"/>
                <a:gd name="T37" fmla="*/ 1146 h 1166"/>
                <a:gd name="T38" fmla="*/ 470 w 1004"/>
                <a:gd name="T39" fmla="*/ 1164 h 1166"/>
                <a:gd name="T40" fmla="*/ 566 w 1004"/>
                <a:gd name="T41" fmla="*/ 1162 h 1166"/>
                <a:gd name="T42" fmla="*/ 680 w 1004"/>
                <a:gd name="T43" fmla="*/ 1138 h 1166"/>
                <a:gd name="T44" fmla="*/ 752 w 1004"/>
                <a:gd name="T45" fmla="*/ 1104 h 1166"/>
                <a:gd name="T46" fmla="*/ 836 w 1004"/>
                <a:gd name="T47" fmla="*/ 1042 h 1166"/>
                <a:gd name="T48" fmla="*/ 888 w 1004"/>
                <a:gd name="T49" fmla="*/ 984 h 1166"/>
                <a:gd name="T50" fmla="*/ 940 w 1004"/>
                <a:gd name="T51" fmla="*/ 895 h 1166"/>
                <a:gd name="T52" fmla="*/ 976 w 1004"/>
                <a:gd name="T53" fmla="*/ 795 h 1166"/>
                <a:gd name="T54" fmla="*/ 1002 w 1004"/>
                <a:gd name="T55" fmla="*/ 637 h 1166"/>
                <a:gd name="T56" fmla="*/ 998 w 1004"/>
                <a:gd name="T57" fmla="*/ 473 h 1166"/>
                <a:gd name="T58" fmla="*/ 960 w 1004"/>
                <a:gd name="T59" fmla="*/ 316 h 1166"/>
                <a:gd name="T60" fmla="*/ 890 w 1004"/>
                <a:gd name="T61" fmla="*/ 182 h 1166"/>
                <a:gd name="T62" fmla="*/ 678 w 1004"/>
                <a:gd name="T63" fmla="*/ 703 h 1166"/>
                <a:gd name="T64" fmla="*/ 658 w 1004"/>
                <a:gd name="T65" fmla="*/ 781 h 1166"/>
                <a:gd name="T66" fmla="*/ 622 w 1004"/>
                <a:gd name="T67" fmla="*/ 841 h 1166"/>
                <a:gd name="T68" fmla="*/ 572 w 1004"/>
                <a:gd name="T69" fmla="*/ 883 h 1166"/>
                <a:gd name="T70" fmla="*/ 506 w 1004"/>
                <a:gd name="T71" fmla="*/ 897 h 1166"/>
                <a:gd name="T72" fmla="*/ 420 w 1004"/>
                <a:gd name="T73" fmla="*/ 873 h 1166"/>
                <a:gd name="T74" fmla="*/ 374 w 1004"/>
                <a:gd name="T75" fmla="*/ 825 h 1166"/>
                <a:gd name="T76" fmla="*/ 340 w 1004"/>
                <a:gd name="T77" fmla="*/ 759 h 1166"/>
                <a:gd name="T78" fmla="*/ 322 w 1004"/>
                <a:gd name="T79" fmla="*/ 677 h 1166"/>
                <a:gd name="T80" fmla="*/ 318 w 1004"/>
                <a:gd name="T81" fmla="*/ 591 h 1166"/>
                <a:gd name="T82" fmla="*/ 328 w 1004"/>
                <a:gd name="T83" fmla="*/ 473 h 1166"/>
                <a:gd name="T84" fmla="*/ 350 w 1004"/>
                <a:gd name="T85" fmla="*/ 391 h 1166"/>
                <a:gd name="T86" fmla="*/ 386 w 1004"/>
                <a:gd name="T87" fmla="*/ 326 h 1166"/>
                <a:gd name="T88" fmla="*/ 438 w 1004"/>
                <a:gd name="T89" fmla="*/ 284 h 1166"/>
                <a:gd name="T90" fmla="*/ 510 w 1004"/>
                <a:gd name="T91" fmla="*/ 272 h 1166"/>
                <a:gd name="T92" fmla="*/ 592 w 1004"/>
                <a:gd name="T93" fmla="*/ 294 h 1166"/>
                <a:gd name="T94" fmla="*/ 636 w 1004"/>
                <a:gd name="T95" fmla="*/ 344 h 1166"/>
                <a:gd name="T96" fmla="*/ 666 w 1004"/>
                <a:gd name="T97" fmla="*/ 417 h 1166"/>
                <a:gd name="T98" fmla="*/ 686 w 1004"/>
                <a:gd name="T99" fmla="*/ 529 h 1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4" h="1166">
                  <a:moveTo>
                    <a:pt x="890" y="182"/>
                  </a:moveTo>
                  <a:lnTo>
                    <a:pt x="890" y="182"/>
                  </a:lnTo>
                  <a:lnTo>
                    <a:pt x="874" y="162"/>
                  </a:lnTo>
                  <a:lnTo>
                    <a:pt x="856" y="142"/>
                  </a:lnTo>
                  <a:lnTo>
                    <a:pt x="838" y="124"/>
                  </a:lnTo>
                  <a:lnTo>
                    <a:pt x="820" y="106"/>
                  </a:lnTo>
                  <a:lnTo>
                    <a:pt x="800" y="90"/>
                  </a:lnTo>
                  <a:lnTo>
                    <a:pt x="778" y="76"/>
                  </a:lnTo>
                  <a:lnTo>
                    <a:pt x="756" y="62"/>
                  </a:lnTo>
                  <a:lnTo>
                    <a:pt x="732" y="50"/>
                  </a:lnTo>
                  <a:lnTo>
                    <a:pt x="732" y="50"/>
                  </a:lnTo>
                  <a:lnTo>
                    <a:pt x="708" y="38"/>
                  </a:lnTo>
                  <a:lnTo>
                    <a:pt x="682" y="28"/>
                  </a:lnTo>
                  <a:lnTo>
                    <a:pt x="656" y="20"/>
                  </a:lnTo>
                  <a:lnTo>
                    <a:pt x="628" y="12"/>
                  </a:lnTo>
                  <a:lnTo>
                    <a:pt x="598" y="8"/>
                  </a:lnTo>
                  <a:lnTo>
                    <a:pt x="568" y="4"/>
                  </a:lnTo>
                  <a:lnTo>
                    <a:pt x="538" y="0"/>
                  </a:lnTo>
                  <a:lnTo>
                    <a:pt x="506" y="0"/>
                  </a:lnTo>
                  <a:lnTo>
                    <a:pt x="506" y="0"/>
                  </a:lnTo>
                  <a:lnTo>
                    <a:pt x="474" y="0"/>
                  </a:lnTo>
                  <a:lnTo>
                    <a:pt x="442" y="4"/>
                  </a:lnTo>
                  <a:lnTo>
                    <a:pt x="412" y="8"/>
                  </a:lnTo>
                  <a:lnTo>
                    <a:pt x="382" y="12"/>
                  </a:lnTo>
                  <a:lnTo>
                    <a:pt x="354" y="20"/>
                  </a:lnTo>
                  <a:lnTo>
                    <a:pt x="328" y="28"/>
                  </a:lnTo>
                  <a:lnTo>
                    <a:pt x="302" y="40"/>
                  </a:lnTo>
                  <a:lnTo>
                    <a:pt x="278" y="50"/>
                  </a:lnTo>
                  <a:lnTo>
                    <a:pt x="278" y="50"/>
                  </a:lnTo>
                  <a:lnTo>
                    <a:pt x="254" y="64"/>
                  </a:lnTo>
                  <a:lnTo>
                    <a:pt x="232" y="78"/>
                  </a:lnTo>
                  <a:lnTo>
                    <a:pt x="210" y="94"/>
                  </a:lnTo>
                  <a:lnTo>
                    <a:pt x="190" y="110"/>
                  </a:lnTo>
                  <a:lnTo>
                    <a:pt x="172" y="126"/>
                  </a:lnTo>
                  <a:lnTo>
                    <a:pt x="154" y="144"/>
                  </a:lnTo>
                  <a:lnTo>
                    <a:pt x="136" y="164"/>
                  </a:lnTo>
                  <a:lnTo>
                    <a:pt x="120" y="184"/>
                  </a:lnTo>
                  <a:lnTo>
                    <a:pt x="120" y="184"/>
                  </a:lnTo>
                  <a:lnTo>
                    <a:pt x="106" y="204"/>
                  </a:lnTo>
                  <a:lnTo>
                    <a:pt x="92" y="226"/>
                  </a:lnTo>
                  <a:lnTo>
                    <a:pt x="80" y="248"/>
                  </a:lnTo>
                  <a:lnTo>
                    <a:pt x="68" y="272"/>
                  </a:lnTo>
                  <a:lnTo>
                    <a:pt x="46" y="320"/>
                  </a:lnTo>
                  <a:lnTo>
                    <a:pt x="30" y="370"/>
                  </a:lnTo>
                  <a:lnTo>
                    <a:pt x="30" y="370"/>
                  </a:lnTo>
                  <a:lnTo>
                    <a:pt x="16" y="423"/>
                  </a:lnTo>
                  <a:lnTo>
                    <a:pt x="8" y="477"/>
                  </a:lnTo>
                  <a:lnTo>
                    <a:pt x="2" y="531"/>
                  </a:lnTo>
                  <a:lnTo>
                    <a:pt x="0" y="585"/>
                  </a:lnTo>
                  <a:lnTo>
                    <a:pt x="0" y="585"/>
                  </a:lnTo>
                  <a:lnTo>
                    <a:pt x="2" y="641"/>
                  </a:lnTo>
                  <a:lnTo>
                    <a:pt x="8" y="693"/>
                  </a:lnTo>
                  <a:lnTo>
                    <a:pt x="16" y="747"/>
                  </a:lnTo>
                  <a:lnTo>
                    <a:pt x="28" y="797"/>
                  </a:lnTo>
                  <a:lnTo>
                    <a:pt x="28" y="797"/>
                  </a:lnTo>
                  <a:lnTo>
                    <a:pt x="36" y="823"/>
                  </a:lnTo>
                  <a:lnTo>
                    <a:pt x="44" y="849"/>
                  </a:lnTo>
                  <a:lnTo>
                    <a:pt x="54" y="873"/>
                  </a:lnTo>
                  <a:lnTo>
                    <a:pt x="66" y="897"/>
                  </a:lnTo>
                  <a:lnTo>
                    <a:pt x="78" y="919"/>
                  </a:lnTo>
                  <a:lnTo>
                    <a:pt x="90" y="942"/>
                  </a:lnTo>
                  <a:lnTo>
                    <a:pt x="104" y="964"/>
                  </a:lnTo>
                  <a:lnTo>
                    <a:pt x="120" y="986"/>
                  </a:lnTo>
                  <a:lnTo>
                    <a:pt x="120" y="986"/>
                  </a:lnTo>
                  <a:lnTo>
                    <a:pt x="136" y="1006"/>
                  </a:lnTo>
                  <a:lnTo>
                    <a:pt x="152" y="1024"/>
                  </a:lnTo>
                  <a:lnTo>
                    <a:pt x="170" y="1042"/>
                  </a:lnTo>
                  <a:lnTo>
                    <a:pt x="190" y="1060"/>
                  </a:lnTo>
                  <a:lnTo>
                    <a:pt x="210" y="1076"/>
                  </a:lnTo>
                  <a:lnTo>
                    <a:pt x="232" y="1090"/>
                  </a:lnTo>
                  <a:lnTo>
                    <a:pt x="254" y="1104"/>
                  </a:lnTo>
                  <a:lnTo>
                    <a:pt x="276" y="1116"/>
                  </a:lnTo>
                  <a:lnTo>
                    <a:pt x="276" y="1116"/>
                  </a:lnTo>
                  <a:lnTo>
                    <a:pt x="300" y="1128"/>
                  </a:lnTo>
                  <a:lnTo>
                    <a:pt x="326" y="1138"/>
                  </a:lnTo>
                  <a:lnTo>
                    <a:pt x="352" y="1146"/>
                  </a:lnTo>
                  <a:lnTo>
                    <a:pt x="380" y="1154"/>
                  </a:lnTo>
                  <a:lnTo>
                    <a:pt x="410" y="1158"/>
                  </a:lnTo>
                  <a:lnTo>
                    <a:pt x="440" y="1162"/>
                  </a:lnTo>
                  <a:lnTo>
                    <a:pt x="470" y="1164"/>
                  </a:lnTo>
                  <a:lnTo>
                    <a:pt x="502" y="1166"/>
                  </a:lnTo>
                  <a:lnTo>
                    <a:pt x="502" y="1166"/>
                  </a:lnTo>
                  <a:lnTo>
                    <a:pt x="534" y="1164"/>
                  </a:lnTo>
                  <a:lnTo>
                    <a:pt x="566" y="1162"/>
                  </a:lnTo>
                  <a:lnTo>
                    <a:pt x="596" y="1158"/>
                  </a:lnTo>
                  <a:lnTo>
                    <a:pt x="624" y="1154"/>
                  </a:lnTo>
                  <a:lnTo>
                    <a:pt x="652" y="1146"/>
                  </a:lnTo>
                  <a:lnTo>
                    <a:pt x="680" y="1138"/>
                  </a:lnTo>
                  <a:lnTo>
                    <a:pt x="704" y="1128"/>
                  </a:lnTo>
                  <a:lnTo>
                    <a:pt x="730" y="1116"/>
                  </a:lnTo>
                  <a:lnTo>
                    <a:pt x="730" y="1116"/>
                  </a:lnTo>
                  <a:lnTo>
                    <a:pt x="752" y="1104"/>
                  </a:lnTo>
                  <a:lnTo>
                    <a:pt x="776" y="1090"/>
                  </a:lnTo>
                  <a:lnTo>
                    <a:pt x="796" y="1076"/>
                  </a:lnTo>
                  <a:lnTo>
                    <a:pt x="816" y="1060"/>
                  </a:lnTo>
                  <a:lnTo>
                    <a:pt x="836" y="1042"/>
                  </a:lnTo>
                  <a:lnTo>
                    <a:pt x="854" y="1024"/>
                  </a:lnTo>
                  <a:lnTo>
                    <a:pt x="872" y="1004"/>
                  </a:lnTo>
                  <a:lnTo>
                    <a:pt x="888" y="984"/>
                  </a:lnTo>
                  <a:lnTo>
                    <a:pt x="888" y="984"/>
                  </a:lnTo>
                  <a:lnTo>
                    <a:pt x="902" y="964"/>
                  </a:lnTo>
                  <a:lnTo>
                    <a:pt x="916" y="942"/>
                  </a:lnTo>
                  <a:lnTo>
                    <a:pt x="928" y="919"/>
                  </a:lnTo>
                  <a:lnTo>
                    <a:pt x="940" y="895"/>
                  </a:lnTo>
                  <a:lnTo>
                    <a:pt x="950" y="871"/>
                  </a:lnTo>
                  <a:lnTo>
                    <a:pt x="960" y="847"/>
                  </a:lnTo>
                  <a:lnTo>
                    <a:pt x="970" y="821"/>
                  </a:lnTo>
                  <a:lnTo>
                    <a:pt x="976" y="795"/>
                  </a:lnTo>
                  <a:lnTo>
                    <a:pt x="976" y="795"/>
                  </a:lnTo>
                  <a:lnTo>
                    <a:pt x="988" y="745"/>
                  </a:lnTo>
                  <a:lnTo>
                    <a:pt x="998" y="691"/>
                  </a:lnTo>
                  <a:lnTo>
                    <a:pt x="1002" y="637"/>
                  </a:lnTo>
                  <a:lnTo>
                    <a:pt x="1004" y="583"/>
                  </a:lnTo>
                  <a:lnTo>
                    <a:pt x="1004" y="583"/>
                  </a:lnTo>
                  <a:lnTo>
                    <a:pt x="1002" y="527"/>
                  </a:lnTo>
                  <a:lnTo>
                    <a:pt x="998" y="473"/>
                  </a:lnTo>
                  <a:lnTo>
                    <a:pt x="988" y="419"/>
                  </a:lnTo>
                  <a:lnTo>
                    <a:pt x="976" y="368"/>
                  </a:lnTo>
                  <a:lnTo>
                    <a:pt x="976" y="368"/>
                  </a:lnTo>
                  <a:lnTo>
                    <a:pt x="960" y="316"/>
                  </a:lnTo>
                  <a:lnTo>
                    <a:pt x="940" y="268"/>
                  </a:lnTo>
                  <a:lnTo>
                    <a:pt x="916" y="224"/>
                  </a:lnTo>
                  <a:lnTo>
                    <a:pt x="890" y="182"/>
                  </a:lnTo>
                  <a:lnTo>
                    <a:pt x="890" y="182"/>
                  </a:lnTo>
                  <a:close/>
                  <a:moveTo>
                    <a:pt x="688" y="585"/>
                  </a:moveTo>
                  <a:lnTo>
                    <a:pt x="688" y="585"/>
                  </a:lnTo>
                  <a:lnTo>
                    <a:pt x="686" y="643"/>
                  </a:lnTo>
                  <a:lnTo>
                    <a:pt x="678" y="703"/>
                  </a:lnTo>
                  <a:lnTo>
                    <a:pt x="678" y="703"/>
                  </a:lnTo>
                  <a:lnTo>
                    <a:pt x="674" y="731"/>
                  </a:lnTo>
                  <a:lnTo>
                    <a:pt x="666" y="757"/>
                  </a:lnTo>
                  <a:lnTo>
                    <a:pt x="658" y="781"/>
                  </a:lnTo>
                  <a:lnTo>
                    <a:pt x="648" y="803"/>
                  </a:lnTo>
                  <a:lnTo>
                    <a:pt x="648" y="803"/>
                  </a:lnTo>
                  <a:lnTo>
                    <a:pt x="636" y="823"/>
                  </a:lnTo>
                  <a:lnTo>
                    <a:pt x="622" y="841"/>
                  </a:lnTo>
                  <a:lnTo>
                    <a:pt x="606" y="857"/>
                  </a:lnTo>
                  <a:lnTo>
                    <a:pt x="590" y="873"/>
                  </a:lnTo>
                  <a:lnTo>
                    <a:pt x="590" y="873"/>
                  </a:lnTo>
                  <a:lnTo>
                    <a:pt x="572" y="883"/>
                  </a:lnTo>
                  <a:lnTo>
                    <a:pt x="552" y="891"/>
                  </a:lnTo>
                  <a:lnTo>
                    <a:pt x="530" y="895"/>
                  </a:lnTo>
                  <a:lnTo>
                    <a:pt x="506" y="897"/>
                  </a:lnTo>
                  <a:lnTo>
                    <a:pt x="506" y="897"/>
                  </a:lnTo>
                  <a:lnTo>
                    <a:pt x="480" y="895"/>
                  </a:lnTo>
                  <a:lnTo>
                    <a:pt x="458" y="891"/>
                  </a:lnTo>
                  <a:lnTo>
                    <a:pt x="438" y="883"/>
                  </a:lnTo>
                  <a:lnTo>
                    <a:pt x="420" y="873"/>
                  </a:lnTo>
                  <a:lnTo>
                    <a:pt x="420" y="873"/>
                  </a:lnTo>
                  <a:lnTo>
                    <a:pt x="402" y="859"/>
                  </a:lnTo>
                  <a:lnTo>
                    <a:pt x="388" y="843"/>
                  </a:lnTo>
                  <a:lnTo>
                    <a:pt x="374" y="825"/>
                  </a:lnTo>
                  <a:lnTo>
                    <a:pt x="362" y="805"/>
                  </a:lnTo>
                  <a:lnTo>
                    <a:pt x="362" y="805"/>
                  </a:lnTo>
                  <a:lnTo>
                    <a:pt x="350" y="783"/>
                  </a:lnTo>
                  <a:lnTo>
                    <a:pt x="340" y="759"/>
                  </a:lnTo>
                  <a:lnTo>
                    <a:pt x="334" y="733"/>
                  </a:lnTo>
                  <a:lnTo>
                    <a:pt x="328" y="705"/>
                  </a:lnTo>
                  <a:lnTo>
                    <a:pt x="328" y="705"/>
                  </a:lnTo>
                  <a:lnTo>
                    <a:pt x="322" y="677"/>
                  </a:lnTo>
                  <a:lnTo>
                    <a:pt x="320" y="647"/>
                  </a:lnTo>
                  <a:lnTo>
                    <a:pt x="318" y="619"/>
                  </a:lnTo>
                  <a:lnTo>
                    <a:pt x="318" y="591"/>
                  </a:lnTo>
                  <a:lnTo>
                    <a:pt x="318" y="591"/>
                  </a:lnTo>
                  <a:lnTo>
                    <a:pt x="318" y="563"/>
                  </a:lnTo>
                  <a:lnTo>
                    <a:pt x="320" y="533"/>
                  </a:lnTo>
                  <a:lnTo>
                    <a:pt x="322" y="503"/>
                  </a:lnTo>
                  <a:lnTo>
                    <a:pt x="328" y="473"/>
                  </a:lnTo>
                  <a:lnTo>
                    <a:pt x="328" y="473"/>
                  </a:lnTo>
                  <a:lnTo>
                    <a:pt x="334" y="445"/>
                  </a:lnTo>
                  <a:lnTo>
                    <a:pt x="340" y="417"/>
                  </a:lnTo>
                  <a:lnTo>
                    <a:pt x="350" y="391"/>
                  </a:lnTo>
                  <a:lnTo>
                    <a:pt x="362" y="366"/>
                  </a:lnTo>
                  <a:lnTo>
                    <a:pt x="362" y="366"/>
                  </a:lnTo>
                  <a:lnTo>
                    <a:pt x="372" y="346"/>
                  </a:lnTo>
                  <a:lnTo>
                    <a:pt x="386" y="326"/>
                  </a:lnTo>
                  <a:lnTo>
                    <a:pt x="402" y="310"/>
                  </a:lnTo>
                  <a:lnTo>
                    <a:pt x="420" y="296"/>
                  </a:lnTo>
                  <a:lnTo>
                    <a:pt x="420" y="296"/>
                  </a:lnTo>
                  <a:lnTo>
                    <a:pt x="438" y="284"/>
                  </a:lnTo>
                  <a:lnTo>
                    <a:pt x="458" y="278"/>
                  </a:lnTo>
                  <a:lnTo>
                    <a:pt x="484" y="272"/>
                  </a:lnTo>
                  <a:lnTo>
                    <a:pt x="510" y="272"/>
                  </a:lnTo>
                  <a:lnTo>
                    <a:pt x="510" y="272"/>
                  </a:lnTo>
                  <a:lnTo>
                    <a:pt x="536" y="272"/>
                  </a:lnTo>
                  <a:lnTo>
                    <a:pt x="558" y="276"/>
                  </a:lnTo>
                  <a:lnTo>
                    <a:pt x="576" y="284"/>
                  </a:lnTo>
                  <a:lnTo>
                    <a:pt x="592" y="294"/>
                  </a:lnTo>
                  <a:lnTo>
                    <a:pt x="592" y="294"/>
                  </a:lnTo>
                  <a:lnTo>
                    <a:pt x="610" y="310"/>
                  </a:lnTo>
                  <a:lnTo>
                    <a:pt x="624" y="326"/>
                  </a:lnTo>
                  <a:lnTo>
                    <a:pt x="636" y="344"/>
                  </a:lnTo>
                  <a:lnTo>
                    <a:pt x="648" y="364"/>
                  </a:lnTo>
                  <a:lnTo>
                    <a:pt x="648" y="364"/>
                  </a:lnTo>
                  <a:lnTo>
                    <a:pt x="658" y="391"/>
                  </a:lnTo>
                  <a:lnTo>
                    <a:pt x="666" y="417"/>
                  </a:lnTo>
                  <a:lnTo>
                    <a:pt x="674" y="443"/>
                  </a:lnTo>
                  <a:lnTo>
                    <a:pt x="678" y="471"/>
                  </a:lnTo>
                  <a:lnTo>
                    <a:pt x="678" y="471"/>
                  </a:lnTo>
                  <a:lnTo>
                    <a:pt x="686" y="529"/>
                  </a:lnTo>
                  <a:lnTo>
                    <a:pt x="688" y="585"/>
                  </a:lnTo>
                  <a:lnTo>
                    <a:pt x="688" y="5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08" name="Freeform 196">
              <a:extLst>
                <a:ext uri="{FF2B5EF4-FFF2-40B4-BE49-F238E27FC236}">
                  <a16:creationId xmlns:a16="http://schemas.microsoft.com/office/drawing/2014/main" id="{652CDDF2-DE91-4652-A99F-9FCA86C934C2}"/>
                </a:ext>
              </a:extLst>
            </p:cNvPr>
            <p:cNvSpPr>
              <a:spLocks/>
            </p:cNvSpPr>
            <p:nvPr/>
          </p:nvSpPr>
          <p:spPr bwMode="auto">
            <a:xfrm>
              <a:off x="3616325" y="1657350"/>
              <a:ext cx="2501900" cy="3543300"/>
            </a:xfrm>
            <a:custGeom>
              <a:avLst/>
              <a:gdLst>
                <a:gd name="T0" fmla="*/ 1252 w 1576"/>
                <a:gd name="T1" fmla="*/ 0 h 2232"/>
                <a:gd name="T2" fmla="*/ 0 w 1576"/>
                <a:gd name="T3" fmla="*/ 2232 h 2232"/>
                <a:gd name="T4" fmla="*/ 328 w 1576"/>
                <a:gd name="T5" fmla="*/ 2232 h 2232"/>
                <a:gd name="T6" fmla="*/ 1576 w 1576"/>
                <a:gd name="T7" fmla="*/ 0 h 2232"/>
                <a:gd name="T8" fmla="*/ 1252 w 1576"/>
                <a:gd name="T9" fmla="*/ 0 h 2232"/>
              </a:gdLst>
              <a:ahLst/>
              <a:cxnLst>
                <a:cxn ang="0">
                  <a:pos x="T0" y="T1"/>
                </a:cxn>
                <a:cxn ang="0">
                  <a:pos x="T2" y="T3"/>
                </a:cxn>
                <a:cxn ang="0">
                  <a:pos x="T4" y="T5"/>
                </a:cxn>
                <a:cxn ang="0">
                  <a:pos x="T6" y="T7"/>
                </a:cxn>
                <a:cxn ang="0">
                  <a:pos x="T8" y="T9"/>
                </a:cxn>
              </a:cxnLst>
              <a:rect l="0" t="0" r="r" b="b"/>
              <a:pathLst>
                <a:path w="1576" h="2232">
                  <a:moveTo>
                    <a:pt x="1252" y="0"/>
                  </a:moveTo>
                  <a:lnTo>
                    <a:pt x="0" y="2232"/>
                  </a:lnTo>
                  <a:lnTo>
                    <a:pt x="328" y="2232"/>
                  </a:lnTo>
                  <a:lnTo>
                    <a:pt x="1576" y="0"/>
                  </a:lnTo>
                  <a:lnTo>
                    <a:pt x="12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09" name="Freeform 197">
              <a:extLst>
                <a:ext uri="{FF2B5EF4-FFF2-40B4-BE49-F238E27FC236}">
                  <a16:creationId xmlns:a16="http://schemas.microsoft.com/office/drawing/2014/main" id="{309E481F-91AE-4F57-98FD-30EF4A6E07AD}"/>
                </a:ext>
              </a:extLst>
            </p:cNvPr>
            <p:cNvSpPr>
              <a:spLocks noEditPoints="1"/>
            </p:cNvSpPr>
            <p:nvPr/>
          </p:nvSpPr>
          <p:spPr bwMode="auto">
            <a:xfrm>
              <a:off x="2921000" y="1720850"/>
              <a:ext cx="1593850" cy="1851025"/>
            </a:xfrm>
            <a:custGeom>
              <a:avLst/>
              <a:gdLst>
                <a:gd name="T0" fmla="*/ 774 w 1004"/>
                <a:gd name="T1" fmla="*/ 1090 h 1166"/>
                <a:gd name="T2" fmla="*/ 854 w 1004"/>
                <a:gd name="T3" fmla="*/ 1024 h 1166"/>
                <a:gd name="T4" fmla="*/ 902 w 1004"/>
                <a:gd name="T5" fmla="*/ 964 h 1166"/>
                <a:gd name="T6" fmla="*/ 950 w 1004"/>
                <a:gd name="T7" fmla="*/ 874 h 1166"/>
                <a:gd name="T8" fmla="*/ 988 w 1004"/>
                <a:gd name="T9" fmla="*/ 745 h 1166"/>
                <a:gd name="T10" fmla="*/ 1004 w 1004"/>
                <a:gd name="T11" fmla="*/ 583 h 1166"/>
                <a:gd name="T12" fmla="*/ 978 w 1004"/>
                <a:gd name="T13" fmla="*/ 369 h 1166"/>
                <a:gd name="T14" fmla="*/ 952 w 1004"/>
                <a:gd name="T15" fmla="*/ 295 h 1166"/>
                <a:gd name="T16" fmla="*/ 904 w 1004"/>
                <a:gd name="T17" fmla="*/ 202 h 1166"/>
                <a:gd name="T18" fmla="*/ 856 w 1004"/>
                <a:gd name="T19" fmla="*/ 142 h 1166"/>
                <a:gd name="T20" fmla="*/ 778 w 1004"/>
                <a:gd name="T21" fmla="*/ 76 h 1166"/>
                <a:gd name="T22" fmla="*/ 710 w 1004"/>
                <a:gd name="T23" fmla="*/ 38 h 1166"/>
                <a:gd name="T24" fmla="*/ 600 w 1004"/>
                <a:gd name="T25" fmla="*/ 8 h 1166"/>
                <a:gd name="T26" fmla="*/ 504 w 1004"/>
                <a:gd name="T27" fmla="*/ 0 h 1166"/>
                <a:gd name="T28" fmla="*/ 382 w 1004"/>
                <a:gd name="T29" fmla="*/ 14 h 1166"/>
                <a:gd name="T30" fmla="*/ 278 w 1004"/>
                <a:gd name="T31" fmla="*/ 52 h 1166"/>
                <a:gd name="T32" fmla="*/ 210 w 1004"/>
                <a:gd name="T33" fmla="*/ 94 h 1166"/>
                <a:gd name="T34" fmla="*/ 136 w 1004"/>
                <a:gd name="T35" fmla="*/ 164 h 1166"/>
                <a:gd name="T36" fmla="*/ 66 w 1004"/>
                <a:gd name="T37" fmla="*/ 273 h 1166"/>
                <a:gd name="T38" fmla="*/ 16 w 1004"/>
                <a:gd name="T39" fmla="*/ 423 h 1166"/>
                <a:gd name="T40" fmla="*/ 0 w 1004"/>
                <a:gd name="T41" fmla="*/ 583 h 1166"/>
                <a:gd name="T42" fmla="*/ 28 w 1004"/>
                <a:gd name="T43" fmla="*/ 798 h 1166"/>
                <a:gd name="T44" fmla="*/ 54 w 1004"/>
                <a:gd name="T45" fmla="*/ 874 h 1166"/>
                <a:gd name="T46" fmla="*/ 104 w 1004"/>
                <a:gd name="T47" fmla="*/ 964 h 1166"/>
                <a:gd name="T48" fmla="*/ 152 w 1004"/>
                <a:gd name="T49" fmla="*/ 1024 h 1166"/>
                <a:gd name="T50" fmla="*/ 232 w 1004"/>
                <a:gd name="T51" fmla="*/ 1090 h 1166"/>
                <a:gd name="T52" fmla="*/ 300 w 1004"/>
                <a:gd name="T53" fmla="*/ 1128 h 1166"/>
                <a:gd name="T54" fmla="*/ 408 w 1004"/>
                <a:gd name="T55" fmla="*/ 1160 h 1166"/>
                <a:gd name="T56" fmla="*/ 502 w 1004"/>
                <a:gd name="T57" fmla="*/ 1166 h 1166"/>
                <a:gd name="T58" fmla="*/ 624 w 1004"/>
                <a:gd name="T59" fmla="*/ 1154 h 1166"/>
                <a:gd name="T60" fmla="*/ 728 w 1004"/>
                <a:gd name="T61" fmla="*/ 1118 h 1166"/>
                <a:gd name="T62" fmla="*/ 352 w 1004"/>
                <a:gd name="T63" fmla="*/ 785 h 1166"/>
                <a:gd name="T64" fmla="*/ 330 w 1004"/>
                <a:gd name="T65" fmla="*/ 705 h 1166"/>
                <a:gd name="T66" fmla="*/ 320 w 1004"/>
                <a:gd name="T67" fmla="*/ 591 h 1166"/>
                <a:gd name="T68" fmla="*/ 328 w 1004"/>
                <a:gd name="T69" fmla="*/ 471 h 1166"/>
                <a:gd name="T70" fmla="*/ 360 w 1004"/>
                <a:gd name="T71" fmla="*/ 367 h 1166"/>
                <a:gd name="T72" fmla="*/ 402 w 1004"/>
                <a:gd name="T73" fmla="*/ 311 h 1166"/>
                <a:gd name="T74" fmla="*/ 458 w 1004"/>
                <a:gd name="T75" fmla="*/ 279 h 1166"/>
                <a:gd name="T76" fmla="*/ 532 w 1004"/>
                <a:gd name="T77" fmla="*/ 273 h 1166"/>
                <a:gd name="T78" fmla="*/ 590 w 1004"/>
                <a:gd name="T79" fmla="*/ 295 h 1166"/>
                <a:gd name="T80" fmla="*/ 644 w 1004"/>
                <a:gd name="T81" fmla="*/ 365 h 1166"/>
                <a:gd name="T82" fmla="*/ 670 w 1004"/>
                <a:gd name="T83" fmla="*/ 441 h 1166"/>
                <a:gd name="T84" fmla="*/ 684 w 1004"/>
                <a:gd name="T85" fmla="*/ 583 h 1166"/>
                <a:gd name="T86" fmla="*/ 676 w 1004"/>
                <a:gd name="T87" fmla="*/ 701 h 1166"/>
                <a:gd name="T88" fmla="*/ 644 w 1004"/>
                <a:gd name="T89" fmla="*/ 806 h 1166"/>
                <a:gd name="T90" fmla="*/ 604 w 1004"/>
                <a:gd name="T91" fmla="*/ 862 h 1166"/>
                <a:gd name="T92" fmla="*/ 548 w 1004"/>
                <a:gd name="T93" fmla="*/ 894 h 1166"/>
                <a:gd name="T94" fmla="*/ 478 w 1004"/>
                <a:gd name="T95" fmla="*/ 900 h 1166"/>
                <a:gd name="T96" fmla="*/ 420 w 1004"/>
                <a:gd name="T97" fmla="*/ 878 h 1166"/>
                <a:gd name="T98" fmla="*/ 364 w 1004"/>
                <a:gd name="T99" fmla="*/ 810 h 1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4" h="1166">
                  <a:moveTo>
                    <a:pt x="728" y="1118"/>
                  </a:moveTo>
                  <a:lnTo>
                    <a:pt x="728" y="1118"/>
                  </a:lnTo>
                  <a:lnTo>
                    <a:pt x="752" y="1104"/>
                  </a:lnTo>
                  <a:lnTo>
                    <a:pt x="774" y="1090"/>
                  </a:lnTo>
                  <a:lnTo>
                    <a:pt x="796" y="1076"/>
                  </a:lnTo>
                  <a:lnTo>
                    <a:pt x="816" y="1060"/>
                  </a:lnTo>
                  <a:lnTo>
                    <a:pt x="836" y="1042"/>
                  </a:lnTo>
                  <a:lnTo>
                    <a:pt x="854" y="1024"/>
                  </a:lnTo>
                  <a:lnTo>
                    <a:pt x="870" y="1006"/>
                  </a:lnTo>
                  <a:lnTo>
                    <a:pt x="888" y="984"/>
                  </a:lnTo>
                  <a:lnTo>
                    <a:pt x="888" y="984"/>
                  </a:lnTo>
                  <a:lnTo>
                    <a:pt x="902" y="964"/>
                  </a:lnTo>
                  <a:lnTo>
                    <a:pt x="916" y="942"/>
                  </a:lnTo>
                  <a:lnTo>
                    <a:pt x="928" y="920"/>
                  </a:lnTo>
                  <a:lnTo>
                    <a:pt x="940" y="896"/>
                  </a:lnTo>
                  <a:lnTo>
                    <a:pt x="950" y="874"/>
                  </a:lnTo>
                  <a:lnTo>
                    <a:pt x="960" y="848"/>
                  </a:lnTo>
                  <a:lnTo>
                    <a:pt x="976" y="798"/>
                  </a:lnTo>
                  <a:lnTo>
                    <a:pt x="976" y="798"/>
                  </a:lnTo>
                  <a:lnTo>
                    <a:pt x="988" y="745"/>
                  </a:lnTo>
                  <a:lnTo>
                    <a:pt x="996" y="691"/>
                  </a:lnTo>
                  <a:lnTo>
                    <a:pt x="1002" y="637"/>
                  </a:lnTo>
                  <a:lnTo>
                    <a:pt x="1004" y="583"/>
                  </a:lnTo>
                  <a:lnTo>
                    <a:pt x="1004" y="583"/>
                  </a:lnTo>
                  <a:lnTo>
                    <a:pt x="1002" y="527"/>
                  </a:lnTo>
                  <a:lnTo>
                    <a:pt x="998" y="473"/>
                  </a:lnTo>
                  <a:lnTo>
                    <a:pt x="990" y="421"/>
                  </a:lnTo>
                  <a:lnTo>
                    <a:pt x="978" y="369"/>
                  </a:lnTo>
                  <a:lnTo>
                    <a:pt x="978" y="369"/>
                  </a:lnTo>
                  <a:lnTo>
                    <a:pt x="970" y="343"/>
                  </a:lnTo>
                  <a:lnTo>
                    <a:pt x="962" y="319"/>
                  </a:lnTo>
                  <a:lnTo>
                    <a:pt x="952" y="295"/>
                  </a:lnTo>
                  <a:lnTo>
                    <a:pt x="942" y="271"/>
                  </a:lnTo>
                  <a:lnTo>
                    <a:pt x="930" y="247"/>
                  </a:lnTo>
                  <a:lnTo>
                    <a:pt x="918" y="224"/>
                  </a:lnTo>
                  <a:lnTo>
                    <a:pt x="904" y="202"/>
                  </a:lnTo>
                  <a:lnTo>
                    <a:pt x="890" y="182"/>
                  </a:lnTo>
                  <a:lnTo>
                    <a:pt x="890" y="182"/>
                  </a:lnTo>
                  <a:lnTo>
                    <a:pt x="874" y="162"/>
                  </a:lnTo>
                  <a:lnTo>
                    <a:pt x="856" y="142"/>
                  </a:lnTo>
                  <a:lnTo>
                    <a:pt x="838" y="124"/>
                  </a:lnTo>
                  <a:lnTo>
                    <a:pt x="820" y="108"/>
                  </a:lnTo>
                  <a:lnTo>
                    <a:pt x="800" y="92"/>
                  </a:lnTo>
                  <a:lnTo>
                    <a:pt x="778" y="76"/>
                  </a:lnTo>
                  <a:lnTo>
                    <a:pt x="756" y="62"/>
                  </a:lnTo>
                  <a:lnTo>
                    <a:pt x="734" y="50"/>
                  </a:lnTo>
                  <a:lnTo>
                    <a:pt x="734" y="50"/>
                  </a:lnTo>
                  <a:lnTo>
                    <a:pt x="710" y="38"/>
                  </a:lnTo>
                  <a:lnTo>
                    <a:pt x="684" y="28"/>
                  </a:lnTo>
                  <a:lnTo>
                    <a:pt x="656" y="20"/>
                  </a:lnTo>
                  <a:lnTo>
                    <a:pt x="628" y="12"/>
                  </a:lnTo>
                  <a:lnTo>
                    <a:pt x="600" y="8"/>
                  </a:lnTo>
                  <a:lnTo>
                    <a:pt x="570" y="4"/>
                  </a:lnTo>
                  <a:lnTo>
                    <a:pt x="538" y="2"/>
                  </a:lnTo>
                  <a:lnTo>
                    <a:pt x="504" y="0"/>
                  </a:lnTo>
                  <a:lnTo>
                    <a:pt x="504" y="0"/>
                  </a:lnTo>
                  <a:lnTo>
                    <a:pt x="472" y="2"/>
                  </a:lnTo>
                  <a:lnTo>
                    <a:pt x="442" y="4"/>
                  </a:lnTo>
                  <a:lnTo>
                    <a:pt x="412" y="8"/>
                  </a:lnTo>
                  <a:lnTo>
                    <a:pt x="382" y="14"/>
                  </a:lnTo>
                  <a:lnTo>
                    <a:pt x="354" y="20"/>
                  </a:lnTo>
                  <a:lnTo>
                    <a:pt x="328" y="30"/>
                  </a:lnTo>
                  <a:lnTo>
                    <a:pt x="302" y="40"/>
                  </a:lnTo>
                  <a:lnTo>
                    <a:pt x="278" y="52"/>
                  </a:lnTo>
                  <a:lnTo>
                    <a:pt x="278" y="52"/>
                  </a:lnTo>
                  <a:lnTo>
                    <a:pt x="254" y="64"/>
                  </a:lnTo>
                  <a:lnTo>
                    <a:pt x="232" y="78"/>
                  </a:lnTo>
                  <a:lnTo>
                    <a:pt x="210" y="94"/>
                  </a:lnTo>
                  <a:lnTo>
                    <a:pt x="190" y="110"/>
                  </a:lnTo>
                  <a:lnTo>
                    <a:pt x="170" y="126"/>
                  </a:lnTo>
                  <a:lnTo>
                    <a:pt x="152" y="146"/>
                  </a:lnTo>
                  <a:lnTo>
                    <a:pt x="136" y="164"/>
                  </a:lnTo>
                  <a:lnTo>
                    <a:pt x="120" y="184"/>
                  </a:lnTo>
                  <a:lnTo>
                    <a:pt x="120" y="184"/>
                  </a:lnTo>
                  <a:lnTo>
                    <a:pt x="92" y="226"/>
                  </a:lnTo>
                  <a:lnTo>
                    <a:pt x="66" y="273"/>
                  </a:lnTo>
                  <a:lnTo>
                    <a:pt x="46" y="321"/>
                  </a:lnTo>
                  <a:lnTo>
                    <a:pt x="30" y="371"/>
                  </a:lnTo>
                  <a:lnTo>
                    <a:pt x="30" y="371"/>
                  </a:lnTo>
                  <a:lnTo>
                    <a:pt x="16" y="423"/>
                  </a:lnTo>
                  <a:lnTo>
                    <a:pt x="8" y="475"/>
                  </a:lnTo>
                  <a:lnTo>
                    <a:pt x="2" y="529"/>
                  </a:lnTo>
                  <a:lnTo>
                    <a:pt x="0" y="583"/>
                  </a:lnTo>
                  <a:lnTo>
                    <a:pt x="0" y="583"/>
                  </a:lnTo>
                  <a:lnTo>
                    <a:pt x="2" y="637"/>
                  </a:lnTo>
                  <a:lnTo>
                    <a:pt x="6" y="691"/>
                  </a:lnTo>
                  <a:lnTo>
                    <a:pt x="16" y="745"/>
                  </a:lnTo>
                  <a:lnTo>
                    <a:pt x="28" y="798"/>
                  </a:lnTo>
                  <a:lnTo>
                    <a:pt x="28" y="798"/>
                  </a:lnTo>
                  <a:lnTo>
                    <a:pt x="36" y="824"/>
                  </a:lnTo>
                  <a:lnTo>
                    <a:pt x="44" y="848"/>
                  </a:lnTo>
                  <a:lnTo>
                    <a:pt x="54" y="874"/>
                  </a:lnTo>
                  <a:lnTo>
                    <a:pt x="64" y="898"/>
                  </a:lnTo>
                  <a:lnTo>
                    <a:pt x="76" y="920"/>
                  </a:lnTo>
                  <a:lnTo>
                    <a:pt x="90" y="942"/>
                  </a:lnTo>
                  <a:lnTo>
                    <a:pt x="104" y="964"/>
                  </a:lnTo>
                  <a:lnTo>
                    <a:pt x="118" y="986"/>
                  </a:lnTo>
                  <a:lnTo>
                    <a:pt x="118" y="986"/>
                  </a:lnTo>
                  <a:lnTo>
                    <a:pt x="134" y="1006"/>
                  </a:lnTo>
                  <a:lnTo>
                    <a:pt x="152" y="1024"/>
                  </a:lnTo>
                  <a:lnTo>
                    <a:pt x="170" y="1042"/>
                  </a:lnTo>
                  <a:lnTo>
                    <a:pt x="190" y="1060"/>
                  </a:lnTo>
                  <a:lnTo>
                    <a:pt x="210" y="1076"/>
                  </a:lnTo>
                  <a:lnTo>
                    <a:pt x="232" y="1090"/>
                  </a:lnTo>
                  <a:lnTo>
                    <a:pt x="254" y="1104"/>
                  </a:lnTo>
                  <a:lnTo>
                    <a:pt x="276" y="1116"/>
                  </a:lnTo>
                  <a:lnTo>
                    <a:pt x="276" y="1116"/>
                  </a:lnTo>
                  <a:lnTo>
                    <a:pt x="300" y="1128"/>
                  </a:lnTo>
                  <a:lnTo>
                    <a:pt x="326" y="1138"/>
                  </a:lnTo>
                  <a:lnTo>
                    <a:pt x="352" y="1146"/>
                  </a:lnTo>
                  <a:lnTo>
                    <a:pt x="380" y="1154"/>
                  </a:lnTo>
                  <a:lnTo>
                    <a:pt x="408" y="1160"/>
                  </a:lnTo>
                  <a:lnTo>
                    <a:pt x="438" y="1162"/>
                  </a:lnTo>
                  <a:lnTo>
                    <a:pt x="470" y="1166"/>
                  </a:lnTo>
                  <a:lnTo>
                    <a:pt x="502" y="1166"/>
                  </a:lnTo>
                  <a:lnTo>
                    <a:pt x="502" y="1166"/>
                  </a:lnTo>
                  <a:lnTo>
                    <a:pt x="534" y="1166"/>
                  </a:lnTo>
                  <a:lnTo>
                    <a:pt x="564" y="1162"/>
                  </a:lnTo>
                  <a:lnTo>
                    <a:pt x="594" y="1160"/>
                  </a:lnTo>
                  <a:lnTo>
                    <a:pt x="624" y="1154"/>
                  </a:lnTo>
                  <a:lnTo>
                    <a:pt x="652" y="1146"/>
                  </a:lnTo>
                  <a:lnTo>
                    <a:pt x="678" y="1138"/>
                  </a:lnTo>
                  <a:lnTo>
                    <a:pt x="704" y="1128"/>
                  </a:lnTo>
                  <a:lnTo>
                    <a:pt x="728" y="1118"/>
                  </a:lnTo>
                  <a:lnTo>
                    <a:pt x="728" y="1118"/>
                  </a:lnTo>
                  <a:close/>
                  <a:moveTo>
                    <a:pt x="364" y="810"/>
                  </a:moveTo>
                  <a:lnTo>
                    <a:pt x="364" y="810"/>
                  </a:lnTo>
                  <a:lnTo>
                    <a:pt x="352" y="785"/>
                  </a:lnTo>
                  <a:lnTo>
                    <a:pt x="344" y="759"/>
                  </a:lnTo>
                  <a:lnTo>
                    <a:pt x="336" y="733"/>
                  </a:lnTo>
                  <a:lnTo>
                    <a:pt x="330" y="705"/>
                  </a:lnTo>
                  <a:lnTo>
                    <a:pt x="330" y="705"/>
                  </a:lnTo>
                  <a:lnTo>
                    <a:pt x="326" y="677"/>
                  </a:lnTo>
                  <a:lnTo>
                    <a:pt x="322" y="647"/>
                  </a:lnTo>
                  <a:lnTo>
                    <a:pt x="320" y="619"/>
                  </a:lnTo>
                  <a:lnTo>
                    <a:pt x="320" y="591"/>
                  </a:lnTo>
                  <a:lnTo>
                    <a:pt x="320" y="591"/>
                  </a:lnTo>
                  <a:lnTo>
                    <a:pt x="322" y="533"/>
                  </a:lnTo>
                  <a:lnTo>
                    <a:pt x="328" y="471"/>
                  </a:lnTo>
                  <a:lnTo>
                    <a:pt x="328" y="471"/>
                  </a:lnTo>
                  <a:lnTo>
                    <a:pt x="334" y="443"/>
                  </a:lnTo>
                  <a:lnTo>
                    <a:pt x="342" y="415"/>
                  </a:lnTo>
                  <a:lnTo>
                    <a:pt x="350" y="391"/>
                  </a:lnTo>
                  <a:lnTo>
                    <a:pt x="360" y="367"/>
                  </a:lnTo>
                  <a:lnTo>
                    <a:pt x="360" y="367"/>
                  </a:lnTo>
                  <a:lnTo>
                    <a:pt x="372" y="347"/>
                  </a:lnTo>
                  <a:lnTo>
                    <a:pt x="386" y="329"/>
                  </a:lnTo>
                  <a:lnTo>
                    <a:pt x="402" y="311"/>
                  </a:lnTo>
                  <a:lnTo>
                    <a:pt x="418" y="297"/>
                  </a:lnTo>
                  <a:lnTo>
                    <a:pt x="418" y="297"/>
                  </a:lnTo>
                  <a:lnTo>
                    <a:pt x="436" y="287"/>
                  </a:lnTo>
                  <a:lnTo>
                    <a:pt x="458" y="279"/>
                  </a:lnTo>
                  <a:lnTo>
                    <a:pt x="482" y="273"/>
                  </a:lnTo>
                  <a:lnTo>
                    <a:pt x="508" y="273"/>
                  </a:lnTo>
                  <a:lnTo>
                    <a:pt x="508" y="273"/>
                  </a:lnTo>
                  <a:lnTo>
                    <a:pt x="532" y="273"/>
                  </a:lnTo>
                  <a:lnTo>
                    <a:pt x="554" y="279"/>
                  </a:lnTo>
                  <a:lnTo>
                    <a:pt x="572" y="285"/>
                  </a:lnTo>
                  <a:lnTo>
                    <a:pt x="590" y="295"/>
                  </a:lnTo>
                  <a:lnTo>
                    <a:pt x="590" y="295"/>
                  </a:lnTo>
                  <a:lnTo>
                    <a:pt x="606" y="311"/>
                  </a:lnTo>
                  <a:lnTo>
                    <a:pt x="620" y="327"/>
                  </a:lnTo>
                  <a:lnTo>
                    <a:pt x="634" y="345"/>
                  </a:lnTo>
                  <a:lnTo>
                    <a:pt x="644" y="365"/>
                  </a:lnTo>
                  <a:lnTo>
                    <a:pt x="644" y="365"/>
                  </a:lnTo>
                  <a:lnTo>
                    <a:pt x="654" y="389"/>
                  </a:lnTo>
                  <a:lnTo>
                    <a:pt x="664" y="415"/>
                  </a:lnTo>
                  <a:lnTo>
                    <a:pt x="670" y="441"/>
                  </a:lnTo>
                  <a:lnTo>
                    <a:pt x="676" y="467"/>
                  </a:lnTo>
                  <a:lnTo>
                    <a:pt x="676" y="467"/>
                  </a:lnTo>
                  <a:lnTo>
                    <a:pt x="682" y="527"/>
                  </a:lnTo>
                  <a:lnTo>
                    <a:pt x="684" y="583"/>
                  </a:lnTo>
                  <a:lnTo>
                    <a:pt x="684" y="583"/>
                  </a:lnTo>
                  <a:lnTo>
                    <a:pt x="682" y="641"/>
                  </a:lnTo>
                  <a:lnTo>
                    <a:pt x="676" y="701"/>
                  </a:lnTo>
                  <a:lnTo>
                    <a:pt x="676" y="701"/>
                  </a:lnTo>
                  <a:lnTo>
                    <a:pt x="670" y="729"/>
                  </a:lnTo>
                  <a:lnTo>
                    <a:pt x="662" y="755"/>
                  </a:lnTo>
                  <a:lnTo>
                    <a:pt x="654" y="781"/>
                  </a:lnTo>
                  <a:lnTo>
                    <a:pt x="644" y="806"/>
                  </a:lnTo>
                  <a:lnTo>
                    <a:pt x="644" y="806"/>
                  </a:lnTo>
                  <a:lnTo>
                    <a:pt x="632" y="826"/>
                  </a:lnTo>
                  <a:lnTo>
                    <a:pt x="618" y="846"/>
                  </a:lnTo>
                  <a:lnTo>
                    <a:pt x="604" y="862"/>
                  </a:lnTo>
                  <a:lnTo>
                    <a:pt x="586" y="876"/>
                  </a:lnTo>
                  <a:lnTo>
                    <a:pt x="586" y="876"/>
                  </a:lnTo>
                  <a:lnTo>
                    <a:pt x="568" y="888"/>
                  </a:lnTo>
                  <a:lnTo>
                    <a:pt x="548" y="894"/>
                  </a:lnTo>
                  <a:lnTo>
                    <a:pt x="526" y="900"/>
                  </a:lnTo>
                  <a:lnTo>
                    <a:pt x="502" y="900"/>
                  </a:lnTo>
                  <a:lnTo>
                    <a:pt x="502" y="900"/>
                  </a:lnTo>
                  <a:lnTo>
                    <a:pt x="478" y="900"/>
                  </a:lnTo>
                  <a:lnTo>
                    <a:pt x="456" y="896"/>
                  </a:lnTo>
                  <a:lnTo>
                    <a:pt x="438" y="888"/>
                  </a:lnTo>
                  <a:lnTo>
                    <a:pt x="420" y="878"/>
                  </a:lnTo>
                  <a:lnTo>
                    <a:pt x="420" y="878"/>
                  </a:lnTo>
                  <a:lnTo>
                    <a:pt x="402" y="864"/>
                  </a:lnTo>
                  <a:lnTo>
                    <a:pt x="388" y="848"/>
                  </a:lnTo>
                  <a:lnTo>
                    <a:pt x="374" y="830"/>
                  </a:lnTo>
                  <a:lnTo>
                    <a:pt x="364" y="810"/>
                  </a:lnTo>
                  <a:lnTo>
                    <a:pt x="364" y="8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11" name="Freeform 198">
              <a:extLst>
                <a:ext uri="{FF2B5EF4-FFF2-40B4-BE49-F238E27FC236}">
                  <a16:creationId xmlns:a16="http://schemas.microsoft.com/office/drawing/2014/main" id="{B4E7DC0C-CCA1-4639-B15B-8F10120A3572}"/>
                </a:ext>
              </a:extLst>
            </p:cNvPr>
            <p:cNvSpPr>
              <a:spLocks noEditPoints="1"/>
            </p:cNvSpPr>
            <p:nvPr/>
          </p:nvSpPr>
          <p:spPr bwMode="auto">
            <a:xfrm>
              <a:off x="8382000" y="2560638"/>
              <a:ext cx="889000" cy="1030288"/>
            </a:xfrm>
            <a:custGeom>
              <a:avLst/>
              <a:gdLst>
                <a:gd name="T0" fmla="*/ 536 w 560"/>
                <a:gd name="T1" fmla="*/ 176 h 649"/>
                <a:gd name="T2" fmla="*/ 496 w 560"/>
                <a:gd name="T3" fmla="*/ 100 h 649"/>
                <a:gd name="T4" fmla="*/ 456 w 560"/>
                <a:gd name="T5" fmla="*/ 58 h 649"/>
                <a:gd name="T6" fmla="*/ 408 w 560"/>
                <a:gd name="T7" fmla="*/ 26 h 649"/>
                <a:gd name="T8" fmla="*/ 316 w 560"/>
                <a:gd name="T9" fmla="*/ 0 h 649"/>
                <a:gd name="T10" fmla="*/ 246 w 560"/>
                <a:gd name="T11" fmla="*/ 0 h 649"/>
                <a:gd name="T12" fmla="*/ 154 w 560"/>
                <a:gd name="T13" fmla="*/ 28 h 649"/>
                <a:gd name="T14" fmla="*/ 106 w 560"/>
                <a:gd name="T15" fmla="*/ 60 h 649"/>
                <a:gd name="T16" fmla="*/ 66 w 560"/>
                <a:gd name="T17" fmla="*/ 102 h 649"/>
                <a:gd name="T18" fmla="*/ 26 w 560"/>
                <a:gd name="T19" fmla="*/ 178 h 649"/>
                <a:gd name="T20" fmla="*/ 8 w 560"/>
                <a:gd name="T21" fmla="*/ 236 h 649"/>
                <a:gd name="T22" fmla="*/ 0 w 560"/>
                <a:gd name="T23" fmla="*/ 327 h 649"/>
                <a:gd name="T24" fmla="*/ 4 w 560"/>
                <a:gd name="T25" fmla="*/ 387 h 649"/>
                <a:gd name="T26" fmla="*/ 16 w 560"/>
                <a:gd name="T27" fmla="*/ 445 h 649"/>
                <a:gd name="T28" fmla="*/ 50 w 560"/>
                <a:gd name="T29" fmla="*/ 525 h 649"/>
                <a:gd name="T30" fmla="*/ 84 w 560"/>
                <a:gd name="T31" fmla="*/ 571 h 649"/>
                <a:gd name="T32" fmla="*/ 154 w 560"/>
                <a:gd name="T33" fmla="*/ 623 h 649"/>
                <a:gd name="T34" fmla="*/ 212 w 560"/>
                <a:gd name="T35" fmla="*/ 643 h 649"/>
                <a:gd name="T36" fmla="*/ 280 w 560"/>
                <a:gd name="T37" fmla="*/ 649 h 649"/>
                <a:gd name="T38" fmla="*/ 378 w 560"/>
                <a:gd name="T39" fmla="*/ 635 h 649"/>
                <a:gd name="T40" fmla="*/ 432 w 560"/>
                <a:gd name="T41" fmla="*/ 607 h 649"/>
                <a:gd name="T42" fmla="*/ 494 w 560"/>
                <a:gd name="T43" fmla="*/ 549 h 649"/>
                <a:gd name="T44" fmla="*/ 524 w 560"/>
                <a:gd name="T45" fmla="*/ 499 h 649"/>
                <a:gd name="T46" fmla="*/ 544 w 560"/>
                <a:gd name="T47" fmla="*/ 443 h 649"/>
                <a:gd name="T48" fmla="*/ 558 w 560"/>
                <a:gd name="T49" fmla="*/ 355 h 649"/>
                <a:gd name="T50" fmla="*/ 558 w 560"/>
                <a:gd name="T51" fmla="*/ 293 h 649"/>
                <a:gd name="T52" fmla="*/ 544 w 560"/>
                <a:gd name="T53" fmla="*/ 204 h 649"/>
                <a:gd name="T54" fmla="*/ 328 w 560"/>
                <a:gd name="T55" fmla="*/ 487 h 649"/>
                <a:gd name="T56" fmla="*/ 294 w 560"/>
                <a:gd name="T57" fmla="*/ 499 h 649"/>
                <a:gd name="T58" fmla="*/ 256 w 560"/>
                <a:gd name="T59" fmla="*/ 497 h 649"/>
                <a:gd name="T60" fmla="*/ 234 w 560"/>
                <a:gd name="T61" fmla="*/ 487 h 649"/>
                <a:gd name="T62" fmla="*/ 208 w 560"/>
                <a:gd name="T63" fmla="*/ 461 h 649"/>
                <a:gd name="T64" fmla="*/ 194 w 560"/>
                <a:gd name="T65" fmla="*/ 437 h 649"/>
                <a:gd name="T66" fmla="*/ 182 w 560"/>
                <a:gd name="T67" fmla="*/ 393 h 649"/>
                <a:gd name="T68" fmla="*/ 176 w 560"/>
                <a:gd name="T69" fmla="*/ 329 h 649"/>
                <a:gd name="T70" fmla="*/ 182 w 560"/>
                <a:gd name="T71" fmla="*/ 262 h 649"/>
                <a:gd name="T72" fmla="*/ 200 w 560"/>
                <a:gd name="T73" fmla="*/ 204 h 649"/>
                <a:gd name="T74" fmla="*/ 224 w 560"/>
                <a:gd name="T75" fmla="*/ 172 h 649"/>
                <a:gd name="T76" fmla="*/ 244 w 560"/>
                <a:gd name="T77" fmla="*/ 158 h 649"/>
                <a:gd name="T78" fmla="*/ 284 w 560"/>
                <a:gd name="T79" fmla="*/ 150 h 649"/>
                <a:gd name="T80" fmla="*/ 310 w 560"/>
                <a:gd name="T81" fmla="*/ 154 h 649"/>
                <a:gd name="T82" fmla="*/ 330 w 560"/>
                <a:gd name="T83" fmla="*/ 164 h 649"/>
                <a:gd name="T84" fmla="*/ 354 w 560"/>
                <a:gd name="T85" fmla="*/ 192 h 649"/>
                <a:gd name="T86" fmla="*/ 372 w 560"/>
                <a:gd name="T87" fmla="*/ 230 h 649"/>
                <a:gd name="T88" fmla="*/ 382 w 560"/>
                <a:gd name="T89" fmla="*/ 295 h 649"/>
                <a:gd name="T90" fmla="*/ 382 w 560"/>
                <a:gd name="T91" fmla="*/ 359 h 649"/>
                <a:gd name="T92" fmla="*/ 372 w 560"/>
                <a:gd name="T93" fmla="*/ 421 h 649"/>
                <a:gd name="T94" fmla="*/ 360 w 560"/>
                <a:gd name="T95" fmla="*/ 447 h 649"/>
                <a:gd name="T96" fmla="*/ 338 w 560"/>
                <a:gd name="T97" fmla="*/ 479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0" h="649">
                  <a:moveTo>
                    <a:pt x="544" y="204"/>
                  </a:moveTo>
                  <a:lnTo>
                    <a:pt x="544" y="204"/>
                  </a:lnTo>
                  <a:lnTo>
                    <a:pt x="536" y="176"/>
                  </a:lnTo>
                  <a:lnTo>
                    <a:pt x="524" y="150"/>
                  </a:lnTo>
                  <a:lnTo>
                    <a:pt x="512" y="124"/>
                  </a:lnTo>
                  <a:lnTo>
                    <a:pt x="496" y="100"/>
                  </a:lnTo>
                  <a:lnTo>
                    <a:pt x="496" y="100"/>
                  </a:lnTo>
                  <a:lnTo>
                    <a:pt x="478" y="78"/>
                  </a:lnTo>
                  <a:lnTo>
                    <a:pt x="456" y="58"/>
                  </a:lnTo>
                  <a:lnTo>
                    <a:pt x="434" y="42"/>
                  </a:lnTo>
                  <a:lnTo>
                    <a:pt x="408" y="26"/>
                  </a:lnTo>
                  <a:lnTo>
                    <a:pt x="408" y="26"/>
                  </a:lnTo>
                  <a:lnTo>
                    <a:pt x="380" y="14"/>
                  </a:lnTo>
                  <a:lnTo>
                    <a:pt x="350" y="6"/>
                  </a:lnTo>
                  <a:lnTo>
                    <a:pt x="316" y="0"/>
                  </a:lnTo>
                  <a:lnTo>
                    <a:pt x="282" y="0"/>
                  </a:lnTo>
                  <a:lnTo>
                    <a:pt x="282" y="0"/>
                  </a:lnTo>
                  <a:lnTo>
                    <a:pt x="246" y="0"/>
                  </a:lnTo>
                  <a:lnTo>
                    <a:pt x="214" y="6"/>
                  </a:lnTo>
                  <a:lnTo>
                    <a:pt x="182" y="16"/>
                  </a:lnTo>
                  <a:lnTo>
                    <a:pt x="154" y="28"/>
                  </a:lnTo>
                  <a:lnTo>
                    <a:pt x="154" y="28"/>
                  </a:lnTo>
                  <a:lnTo>
                    <a:pt x="128" y="42"/>
                  </a:lnTo>
                  <a:lnTo>
                    <a:pt x="106" y="60"/>
                  </a:lnTo>
                  <a:lnTo>
                    <a:pt x="84" y="80"/>
                  </a:lnTo>
                  <a:lnTo>
                    <a:pt x="66" y="102"/>
                  </a:lnTo>
                  <a:lnTo>
                    <a:pt x="66" y="102"/>
                  </a:lnTo>
                  <a:lnTo>
                    <a:pt x="50" y="126"/>
                  </a:lnTo>
                  <a:lnTo>
                    <a:pt x="38" y="150"/>
                  </a:lnTo>
                  <a:lnTo>
                    <a:pt x="26" y="178"/>
                  </a:lnTo>
                  <a:lnTo>
                    <a:pt x="16" y="206"/>
                  </a:lnTo>
                  <a:lnTo>
                    <a:pt x="16" y="206"/>
                  </a:lnTo>
                  <a:lnTo>
                    <a:pt x="8" y="236"/>
                  </a:lnTo>
                  <a:lnTo>
                    <a:pt x="4" y="264"/>
                  </a:lnTo>
                  <a:lnTo>
                    <a:pt x="0" y="295"/>
                  </a:lnTo>
                  <a:lnTo>
                    <a:pt x="0" y="327"/>
                  </a:lnTo>
                  <a:lnTo>
                    <a:pt x="0" y="327"/>
                  </a:lnTo>
                  <a:lnTo>
                    <a:pt x="0" y="357"/>
                  </a:lnTo>
                  <a:lnTo>
                    <a:pt x="4" y="387"/>
                  </a:lnTo>
                  <a:lnTo>
                    <a:pt x="8" y="417"/>
                  </a:lnTo>
                  <a:lnTo>
                    <a:pt x="16" y="445"/>
                  </a:lnTo>
                  <a:lnTo>
                    <a:pt x="16" y="445"/>
                  </a:lnTo>
                  <a:lnTo>
                    <a:pt x="24" y="473"/>
                  </a:lnTo>
                  <a:lnTo>
                    <a:pt x="36" y="499"/>
                  </a:lnTo>
                  <a:lnTo>
                    <a:pt x="50" y="525"/>
                  </a:lnTo>
                  <a:lnTo>
                    <a:pt x="66" y="549"/>
                  </a:lnTo>
                  <a:lnTo>
                    <a:pt x="66" y="549"/>
                  </a:lnTo>
                  <a:lnTo>
                    <a:pt x="84" y="571"/>
                  </a:lnTo>
                  <a:lnTo>
                    <a:pt x="106" y="591"/>
                  </a:lnTo>
                  <a:lnTo>
                    <a:pt x="128" y="607"/>
                  </a:lnTo>
                  <a:lnTo>
                    <a:pt x="154" y="623"/>
                  </a:lnTo>
                  <a:lnTo>
                    <a:pt x="154" y="623"/>
                  </a:lnTo>
                  <a:lnTo>
                    <a:pt x="182" y="635"/>
                  </a:lnTo>
                  <a:lnTo>
                    <a:pt x="212" y="643"/>
                  </a:lnTo>
                  <a:lnTo>
                    <a:pt x="244" y="647"/>
                  </a:lnTo>
                  <a:lnTo>
                    <a:pt x="280" y="649"/>
                  </a:lnTo>
                  <a:lnTo>
                    <a:pt x="280" y="649"/>
                  </a:lnTo>
                  <a:lnTo>
                    <a:pt x="314" y="647"/>
                  </a:lnTo>
                  <a:lnTo>
                    <a:pt x="348" y="643"/>
                  </a:lnTo>
                  <a:lnTo>
                    <a:pt x="378" y="635"/>
                  </a:lnTo>
                  <a:lnTo>
                    <a:pt x="406" y="623"/>
                  </a:lnTo>
                  <a:lnTo>
                    <a:pt x="406" y="623"/>
                  </a:lnTo>
                  <a:lnTo>
                    <a:pt x="432" y="607"/>
                  </a:lnTo>
                  <a:lnTo>
                    <a:pt x="456" y="591"/>
                  </a:lnTo>
                  <a:lnTo>
                    <a:pt x="476" y="571"/>
                  </a:lnTo>
                  <a:lnTo>
                    <a:pt x="494" y="549"/>
                  </a:lnTo>
                  <a:lnTo>
                    <a:pt x="494" y="549"/>
                  </a:lnTo>
                  <a:lnTo>
                    <a:pt x="510" y="525"/>
                  </a:lnTo>
                  <a:lnTo>
                    <a:pt x="524" y="499"/>
                  </a:lnTo>
                  <a:lnTo>
                    <a:pt x="536" y="473"/>
                  </a:lnTo>
                  <a:lnTo>
                    <a:pt x="544" y="443"/>
                  </a:lnTo>
                  <a:lnTo>
                    <a:pt x="544" y="443"/>
                  </a:lnTo>
                  <a:lnTo>
                    <a:pt x="552" y="415"/>
                  </a:lnTo>
                  <a:lnTo>
                    <a:pt x="556" y="385"/>
                  </a:lnTo>
                  <a:lnTo>
                    <a:pt x="558" y="355"/>
                  </a:lnTo>
                  <a:lnTo>
                    <a:pt x="560" y="325"/>
                  </a:lnTo>
                  <a:lnTo>
                    <a:pt x="560" y="325"/>
                  </a:lnTo>
                  <a:lnTo>
                    <a:pt x="558" y="293"/>
                  </a:lnTo>
                  <a:lnTo>
                    <a:pt x="556" y="262"/>
                  </a:lnTo>
                  <a:lnTo>
                    <a:pt x="552" y="232"/>
                  </a:lnTo>
                  <a:lnTo>
                    <a:pt x="544" y="204"/>
                  </a:lnTo>
                  <a:lnTo>
                    <a:pt x="544" y="204"/>
                  </a:lnTo>
                  <a:close/>
                  <a:moveTo>
                    <a:pt x="328" y="487"/>
                  </a:moveTo>
                  <a:lnTo>
                    <a:pt x="328" y="487"/>
                  </a:lnTo>
                  <a:lnTo>
                    <a:pt x="318" y="493"/>
                  </a:lnTo>
                  <a:lnTo>
                    <a:pt x="306" y="497"/>
                  </a:lnTo>
                  <a:lnTo>
                    <a:pt x="294" y="499"/>
                  </a:lnTo>
                  <a:lnTo>
                    <a:pt x="282" y="501"/>
                  </a:lnTo>
                  <a:lnTo>
                    <a:pt x="268" y="499"/>
                  </a:lnTo>
                  <a:lnTo>
                    <a:pt x="256" y="497"/>
                  </a:lnTo>
                  <a:lnTo>
                    <a:pt x="244" y="493"/>
                  </a:lnTo>
                  <a:lnTo>
                    <a:pt x="234" y="487"/>
                  </a:lnTo>
                  <a:lnTo>
                    <a:pt x="234" y="487"/>
                  </a:lnTo>
                  <a:lnTo>
                    <a:pt x="224" y="479"/>
                  </a:lnTo>
                  <a:lnTo>
                    <a:pt x="216" y="469"/>
                  </a:lnTo>
                  <a:lnTo>
                    <a:pt x="208" y="461"/>
                  </a:lnTo>
                  <a:lnTo>
                    <a:pt x="202" y="449"/>
                  </a:lnTo>
                  <a:lnTo>
                    <a:pt x="202" y="449"/>
                  </a:lnTo>
                  <a:lnTo>
                    <a:pt x="194" y="437"/>
                  </a:lnTo>
                  <a:lnTo>
                    <a:pt x="190" y="423"/>
                  </a:lnTo>
                  <a:lnTo>
                    <a:pt x="182" y="393"/>
                  </a:lnTo>
                  <a:lnTo>
                    <a:pt x="182" y="393"/>
                  </a:lnTo>
                  <a:lnTo>
                    <a:pt x="178" y="361"/>
                  </a:lnTo>
                  <a:lnTo>
                    <a:pt x="176" y="329"/>
                  </a:lnTo>
                  <a:lnTo>
                    <a:pt x="176" y="329"/>
                  </a:lnTo>
                  <a:lnTo>
                    <a:pt x="178" y="297"/>
                  </a:lnTo>
                  <a:lnTo>
                    <a:pt x="182" y="262"/>
                  </a:lnTo>
                  <a:lnTo>
                    <a:pt x="182" y="262"/>
                  </a:lnTo>
                  <a:lnTo>
                    <a:pt x="190" y="232"/>
                  </a:lnTo>
                  <a:lnTo>
                    <a:pt x="200" y="204"/>
                  </a:lnTo>
                  <a:lnTo>
                    <a:pt x="200" y="204"/>
                  </a:lnTo>
                  <a:lnTo>
                    <a:pt x="208" y="192"/>
                  </a:lnTo>
                  <a:lnTo>
                    <a:pt x="214" y="182"/>
                  </a:lnTo>
                  <a:lnTo>
                    <a:pt x="224" y="172"/>
                  </a:lnTo>
                  <a:lnTo>
                    <a:pt x="234" y="164"/>
                  </a:lnTo>
                  <a:lnTo>
                    <a:pt x="234" y="164"/>
                  </a:lnTo>
                  <a:lnTo>
                    <a:pt x="244" y="158"/>
                  </a:lnTo>
                  <a:lnTo>
                    <a:pt x="256" y="154"/>
                  </a:lnTo>
                  <a:lnTo>
                    <a:pt x="270" y="152"/>
                  </a:lnTo>
                  <a:lnTo>
                    <a:pt x="284" y="150"/>
                  </a:lnTo>
                  <a:lnTo>
                    <a:pt x="284" y="150"/>
                  </a:lnTo>
                  <a:lnTo>
                    <a:pt x="298" y="152"/>
                  </a:lnTo>
                  <a:lnTo>
                    <a:pt x="310" y="154"/>
                  </a:lnTo>
                  <a:lnTo>
                    <a:pt x="322" y="158"/>
                  </a:lnTo>
                  <a:lnTo>
                    <a:pt x="330" y="164"/>
                  </a:lnTo>
                  <a:lnTo>
                    <a:pt x="330" y="164"/>
                  </a:lnTo>
                  <a:lnTo>
                    <a:pt x="340" y="172"/>
                  </a:lnTo>
                  <a:lnTo>
                    <a:pt x="348" y="180"/>
                  </a:lnTo>
                  <a:lnTo>
                    <a:pt x="354" y="192"/>
                  </a:lnTo>
                  <a:lnTo>
                    <a:pt x="360" y="202"/>
                  </a:lnTo>
                  <a:lnTo>
                    <a:pt x="360" y="202"/>
                  </a:lnTo>
                  <a:lnTo>
                    <a:pt x="372" y="230"/>
                  </a:lnTo>
                  <a:lnTo>
                    <a:pt x="378" y="262"/>
                  </a:lnTo>
                  <a:lnTo>
                    <a:pt x="378" y="262"/>
                  </a:lnTo>
                  <a:lnTo>
                    <a:pt x="382" y="295"/>
                  </a:lnTo>
                  <a:lnTo>
                    <a:pt x="384" y="327"/>
                  </a:lnTo>
                  <a:lnTo>
                    <a:pt x="384" y="327"/>
                  </a:lnTo>
                  <a:lnTo>
                    <a:pt x="382" y="359"/>
                  </a:lnTo>
                  <a:lnTo>
                    <a:pt x="378" y="391"/>
                  </a:lnTo>
                  <a:lnTo>
                    <a:pt x="378" y="391"/>
                  </a:lnTo>
                  <a:lnTo>
                    <a:pt x="372" y="421"/>
                  </a:lnTo>
                  <a:lnTo>
                    <a:pt x="366" y="435"/>
                  </a:lnTo>
                  <a:lnTo>
                    <a:pt x="360" y="447"/>
                  </a:lnTo>
                  <a:lnTo>
                    <a:pt x="360" y="447"/>
                  </a:lnTo>
                  <a:lnTo>
                    <a:pt x="354" y="459"/>
                  </a:lnTo>
                  <a:lnTo>
                    <a:pt x="346" y="469"/>
                  </a:lnTo>
                  <a:lnTo>
                    <a:pt x="338" y="479"/>
                  </a:lnTo>
                  <a:lnTo>
                    <a:pt x="328" y="487"/>
                  </a:lnTo>
                  <a:lnTo>
                    <a:pt x="328" y="4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18" name="Freeform 199">
              <a:extLst>
                <a:ext uri="{FF2B5EF4-FFF2-40B4-BE49-F238E27FC236}">
                  <a16:creationId xmlns:a16="http://schemas.microsoft.com/office/drawing/2014/main" id="{152023D2-74DA-4AE8-A51F-F59CFCBEDF4C}"/>
                </a:ext>
              </a:extLst>
            </p:cNvPr>
            <p:cNvSpPr>
              <a:spLocks noEditPoints="1"/>
            </p:cNvSpPr>
            <p:nvPr/>
          </p:nvSpPr>
          <p:spPr bwMode="auto">
            <a:xfrm>
              <a:off x="7092950" y="1698625"/>
              <a:ext cx="889000" cy="1033463"/>
            </a:xfrm>
            <a:custGeom>
              <a:avLst/>
              <a:gdLst>
                <a:gd name="T0" fmla="*/ 432 w 560"/>
                <a:gd name="T1" fmla="*/ 609 h 651"/>
                <a:gd name="T2" fmla="*/ 496 w 560"/>
                <a:gd name="T3" fmla="*/ 549 h 651"/>
                <a:gd name="T4" fmla="*/ 524 w 560"/>
                <a:gd name="T5" fmla="*/ 501 h 651"/>
                <a:gd name="T6" fmla="*/ 544 w 560"/>
                <a:gd name="T7" fmla="*/ 445 h 651"/>
                <a:gd name="T8" fmla="*/ 560 w 560"/>
                <a:gd name="T9" fmla="*/ 357 h 651"/>
                <a:gd name="T10" fmla="*/ 560 w 560"/>
                <a:gd name="T11" fmla="*/ 295 h 651"/>
                <a:gd name="T12" fmla="*/ 546 w 560"/>
                <a:gd name="T13" fmla="*/ 206 h 651"/>
                <a:gd name="T14" fmla="*/ 538 w 560"/>
                <a:gd name="T15" fmla="*/ 176 h 651"/>
                <a:gd name="T16" fmla="*/ 496 w 560"/>
                <a:gd name="T17" fmla="*/ 102 h 651"/>
                <a:gd name="T18" fmla="*/ 458 w 560"/>
                <a:gd name="T19" fmla="*/ 60 h 651"/>
                <a:gd name="T20" fmla="*/ 410 w 560"/>
                <a:gd name="T21" fmla="*/ 28 h 651"/>
                <a:gd name="T22" fmla="*/ 318 w 560"/>
                <a:gd name="T23" fmla="*/ 2 h 651"/>
                <a:gd name="T24" fmla="*/ 246 w 560"/>
                <a:gd name="T25" fmla="*/ 2 h 651"/>
                <a:gd name="T26" fmla="*/ 154 w 560"/>
                <a:gd name="T27" fmla="*/ 28 h 651"/>
                <a:gd name="T28" fmla="*/ 106 w 560"/>
                <a:gd name="T29" fmla="*/ 62 h 651"/>
                <a:gd name="T30" fmla="*/ 66 w 560"/>
                <a:gd name="T31" fmla="*/ 102 h 651"/>
                <a:gd name="T32" fmla="*/ 26 w 560"/>
                <a:gd name="T33" fmla="*/ 178 h 651"/>
                <a:gd name="T34" fmla="*/ 10 w 560"/>
                <a:gd name="T35" fmla="*/ 234 h 651"/>
                <a:gd name="T36" fmla="*/ 0 w 560"/>
                <a:gd name="T37" fmla="*/ 325 h 651"/>
                <a:gd name="T38" fmla="*/ 4 w 560"/>
                <a:gd name="T39" fmla="*/ 387 h 651"/>
                <a:gd name="T40" fmla="*/ 16 w 560"/>
                <a:gd name="T41" fmla="*/ 445 h 651"/>
                <a:gd name="T42" fmla="*/ 50 w 560"/>
                <a:gd name="T43" fmla="*/ 527 h 651"/>
                <a:gd name="T44" fmla="*/ 86 w 560"/>
                <a:gd name="T45" fmla="*/ 571 h 651"/>
                <a:gd name="T46" fmla="*/ 154 w 560"/>
                <a:gd name="T47" fmla="*/ 623 h 651"/>
                <a:gd name="T48" fmla="*/ 212 w 560"/>
                <a:gd name="T49" fmla="*/ 643 h 651"/>
                <a:gd name="T50" fmla="*/ 280 w 560"/>
                <a:gd name="T51" fmla="*/ 651 h 651"/>
                <a:gd name="T52" fmla="*/ 378 w 560"/>
                <a:gd name="T53" fmla="*/ 635 h 651"/>
                <a:gd name="T54" fmla="*/ 330 w 560"/>
                <a:gd name="T55" fmla="*/ 164 h 651"/>
                <a:gd name="T56" fmla="*/ 346 w 560"/>
                <a:gd name="T57" fmla="*/ 182 h 651"/>
                <a:gd name="T58" fmla="*/ 360 w 560"/>
                <a:gd name="T59" fmla="*/ 204 h 651"/>
                <a:gd name="T60" fmla="*/ 376 w 560"/>
                <a:gd name="T61" fmla="*/ 261 h 651"/>
                <a:gd name="T62" fmla="*/ 382 w 560"/>
                <a:gd name="T63" fmla="*/ 325 h 651"/>
                <a:gd name="T64" fmla="*/ 376 w 560"/>
                <a:gd name="T65" fmla="*/ 391 h 651"/>
                <a:gd name="T66" fmla="*/ 360 w 560"/>
                <a:gd name="T67" fmla="*/ 449 h 651"/>
                <a:gd name="T68" fmla="*/ 336 w 560"/>
                <a:gd name="T69" fmla="*/ 481 h 651"/>
                <a:gd name="T70" fmla="*/ 318 w 560"/>
                <a:gd name="T71" fmla="*/ 495 h 651"/>
                <a:gd name="T72" fmla="*/ 282 w 560"/>
                <a:gd name="T73" fmla="*/ 503 h 651"/>
                <a:gd name="T74" fmla="*/ 244 w 560"/>
                <a:gd name="T75" fmla="*/ 495 h 651"/>
                <a:gd name="T76" fmla="*/ 224 w 560"/>
                <a:gd name="T77" fmla="*/ 481 h 651"/>
                <a:gd name="T78" fmla="*/ 202 w 560"/>
                <a:gd name="T79" fmla="*/ 451 h 651"/>
                <a:gd name="T80" fmla="*/ 184 w 560"/>
                <a:gd name="T81" fmla="*/ 395 h 651"/>
                <a:gd name="T82" fmla="*/ 178 w 560"/>
                <a:gd name="T83" fmla="*/ 331 h 651"/>
                <a:gd name="T84" fmla="*/ 184 w 560"/>
                <a:gd name="T85" fmla="*/ 263 h 651"/>
                <a:gd name="T86" fmla="*/ 196 w 560"/>
                <a:gd name="T87" fmla="*/ 216 h 651"/>
                <a:gd name="T88" fmla="*/ 208 w 560"/>
                <a:gd name="T89" fmla="*/ 192 h 651"/>
                <a:gd name="T90" fmla="*/ 234 w 560"/>
                <a:gd name="T91" fmla="*/ 166 h 651"/>
                <a:gd name="T92" fmla="*/ 256 w 560"/>
                <a:gd name="T93" fmla="*/ 154 h 651"/>
                <a:gd name="T94" fmla="*/ 284 w 560"/>
                <a:gd name="T95" fmla="*/ 152 h 651"/>
                <a:gd name="T96" fmla="*/ 320 w 560"/>
                <a:gd name="T97" fmla="*/ 158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0" h="651">
                  <a:moveTo>
                    <a:pt x="406" y="623"/>
                  </a:moveTo>
                  <a:lnTo>
                    <a:pt x="406" y="623"/>
                  </a:lnTo>
                  <a:lnTo>
                    <a:pt x="432" y="609"/>
                  </a:lnTo>
                  <a:lnTo>
                    <a:pt x="456" y="591"/>
                  </a:lnTo>
                  <a:lnTo>
                    <a:pt x="476" y="571"/>
                  </a:lnTo>
                  <a:lnTo>
                    <a:pt x="496" y="549"/>
                  </a:lnTo>
                  <a:lnTo>
                    <a:pt x="496" y="549"/>
                  </a:lnTo>
                  <a:lnTo>
                    <a:pt x="510" y="525"/>
                  </a:lnTo>
                  <a:lnTo>
                    <a:pt x="524" y="501"/>
                  </a:lnTo>
                  <a:lnTo>
                    <a:pt x="536" y="473"/>
                  </a:lnTo>
                  <a:lnTo>
                    <a:pt x="544" y="445"/>
                  </a:lnTo>
                  <a:lnTo>
                    <a:pt x="544" y="445"/>
                  </a:lnTo>
                  <a:lnTo>
                    <a:pt x="552" y="415"/>
                  </a:lnTo>
                  <a:lnTo>
                    <a:pt x="556" y="387"/>
                  </a:lnTo>
                  <a:lnTo>
                    <a:pt x="560" y="357"/>
                  </a:lnTo>
                  <a:lnTo>
                    <a:pt x="560" y="325"/>
                  </a:lnTo>
                  <a:lnTo>
                    <a:pt x="560" y="325"/>
                  </a:lnTo>
                  <a:lnTo>
                    <a:pt x="560" y="295"/>
                  </a:lnTo>
                  <a:lnTo>
                    <a:pt x="556" y="265"/>
                  </a:lnTo>
                  <a:lnTo>
                    <a:pt x="552" y="234"/>
                  </a:lnTo>
                  <a:lnTo>
                    <a:pt x="546" y="206"/>
                  </a:lnTo>
                  <a:lnTo>
                    <a:pt x="546" y="206"/>
                  </a:lnTo>
                  <a:lnTo>
                    <a:pt x="546" y="206"/>
                  </a:lnTo>
                  <a:lnTo>
                    <a:pt x="538" y="176"/>
                  </a:lnTo>
                  <a:lnTo>
                    <a:pt x="526" y="150"/>
                  </a:lnTo>
                  <a:lnTo>
                    <a:pt x="512" y="124"/>
                  </a:lnTo>
                  <a:lnTo>
                    <a:pt x="496" y="102"/>
                  </a:lnTo>
                  <a:lnTo>
                    <a:pt x="496" y="102"/>
                  </a:lnTo>
                  <a:lnTo>
                    <a:pt x="478" y="80"/>
                  </a:lnTo>
                  <a:lnTo>
                    <a:pt x="458" y="60"/>
                  </a:lnTo>
                  <a:lnTo>
                    <a:pt x="434" y="42"/>
                  </a:lnTo>
                  <a:lnTo>
                    <a:pt x="410" y="28"/>
                  </a:lnTo>
                  <a:lnTo>
                    <a:pt x="410" y="28"/>
                  </a:lnTo>
                  <a:lnTo>
                    <a:pt x="382" y="16"/>
                  </a:lnTo>
                  <a:lnTo>
                    <a:pt x="350" y="8"/>
                  </a:lnTo>
                  <a:lnTo>
                    <a:pt x="318" y="2"/>
                  </a:lnTo>
                  <a:lnTo>
                    <a:pt x="282" y="0"/>
                  </a:lnTo>
                  <a:lnTo>
                    <a:pt x="282" y="0"/>
                  </a:lnTo>
                  <a:lnTo>
                    <a:pt x="246" y="2"/>
                  </a:lnTo>
                  <a:lnTo>
                    <a:pt x="214" y="8"/>
                  </a:lnTo>
                  <a:lnTo>
                    <a:pt x="182" y="16"/>
                  </a:lnTo>
                  <a:lnTo>
                    <a:pt x="154" y="28"/>
                  </a:lnTo>
                  <a:lnTo>
                    <a:pt x="154" y="28"/>
                  </a:lnTo>
                  <a:lnTo>
                    <a:pt x="130" y="44"/>
                  </a:lnTo>
                  <a:lnTo>
                    <a:pt x="106" y="62"/>
                  </a:lnTo>
                  <a:lnTo>
                    <a:pt x="86" y="80"/>
                  </a:lnTo>
                  <a:lnTo>
                    <a:pt x="66" y="102"/>
                  </a:lnTo>
                  <a:lnTo>
                    <a:pt x="66" y="102"/>
                  </a:lnTo>
                  <a:lnTo>
                    <a:pt x="52" y="126"/>
                  </a:lnTo>
                  <a:lnTo>
                    <a:pt x="38" y="152"/>
                  </a:lnTo>
                  <a:lnTo>
                    <a:pt x="26" y="178"/>
                  </a:lnTo>
                  <a:lnTo>
                    <a:pt x="16" y="206"/>
                  </a:lnTo>
                  <a:lnTo>
                    <a:pt x="16" y="206"/>
                  </a:lnTo>
                  <a:lnTo>
                    <a:pt x="10" y="234"/>
                  </a:lnTo>
                  <a:lnTo>
                    <a:pt x="4" y="265"/>
                  </a:lnTo>
                  <a:lnTo>
                    <a:pt x="2" y="295"/>
                  </a:lnTo>
                  <a:lnTo>
                    <a:pt x="0" y="325"/>
                  </a:lnTo>
                  <a:lnTo>
                    <a:pt x="0" y="325"/>
                  </a:lnTo>
                  <a:lnTo>
                    <a:pt x="2" y="357"/>
                  </a:lnTo>
                  <a:lnTo>
                    <a:pt x="4" y="387"/>
                  </a:lnTo>
                  <a:lnTo>
                    <a:pt x="8" y="415"/>
                  </a:lnTo>
                  <a:lnTo>
                    <a:pt x="16" y="445"/>
                  </a:lnTo>
                  <a:lnTo>
                    <a:pt x="16" y="445"/>
                  </a:lnTo>
                  <a:lnTo>
                    <a:pt x="24" y="473"/>
                  </a:lnTo>
                  <a:lnTo>
                    <a:pt x="36" y="501"/>
                  </a:lnTo>
                  <a:lnTo>
                    <a:pt x="50" y="527"/>
                  </a:lnTo>
                  <a:lnTo>
                    <a:pt x="66" y="549"/>
                  </a:lnTo>
                  <a:lnTo>
                    <a:pt x="66" y="549"/>
                  </a:lnTo>
                  <a:lnTo>
                    <a:pt x="86" y="571"/>
                  </a:lnTo>
                  <a:lnTo>
                    <a:pt x="106" y="591"/>
                  </a:lnTo>
                  <a:lnTo>
                    <a:pt x="130" y="609"/>
                  </a:lnTo>
                  <a:lnTo>
                    <a:pt x="154" y="623"/>
                  </a:lnTo>
                  <a:lnTo>
                    <a:pt x="154" y="623"/>
                  </a:lnTo>
                  <a:lnTo>
                    <a:pt x="182" y="635"/>
                  </a:lnTo>
                  <a:lnTo>
                    <a:pt x="212" y="643"/>
                  </a:lnTo>
                  <a:lnTo>
                    <a:pt x="246" y="649"/>
                  </a:lnTo>
                  <a:lnTo>
                    <a:pt x="280" y="651"/>
                  </a:lnTo>
                  <a:lnTo>
                    <a:pt x="280" y="651"/>
                  </a:lnTo>
                  <a:lnTo>
                    <a:pt x="316" y="649"/>
                  </a:lnTo>
                  <a:lnTo>
                    <a:pt x="348" y="643"/>
                  </a:lnTo>
                  <a:lnTo>
                    <a:pt x="378" y="635"/>
                  </a:lnTo>
                  <a:lnTo>
                    <a:pt x="406" y="623"/>
                  </a:lnTo>
                  <a:lnTo>
                    <a:pt x="406" y="623"/>
                  </a:lnTo>
                  <a:close/>
                  <a:moveTo>
                    <a:pt x="330" y="164"/>
                  </a:moveTo>
                  <a:lnTo>
                    <a:pt x="330" y="164"/>
                  </a:lnTo>
                  <a:lnTo>
                    <a:pt x="338" y="172"/>
                  </a:lnTo>
                  <a:lnTo>
                    <a:pt x="346" y="182"/>
                  </a:lnTo>
                  <a:lnTo>
                    <a:pt x="354" y="192"/>
                  </a:lnTo>
                  <a:lnTo>
                    <a:pt x="360" y="204"/>
                  </a:lnTo>
                  <a:lnTo>
                    <a:pt x="360" y="204"/>
                  </a:lnTo>
                  <a:lnTo>
                    <a:pt x="370" y="230"/>
                  </a:lnTo>
                  <a:lnTo>
                    <a:pt x="376" y="261"/>
                  </a:lnTo>
                  <a:lnTo>
                    <a:pt x="376" y="261"/>
                  </a:lnTo>
                  <a:lnTo>
                    <a:pt x="380" y="295"/>
                  </a:lnTo>
                  <a:lnTo>
                    <a:pt x="382" y="325"/>
                  </a:lnTo>
                  <a:lnTo>
                    <a:pt x="382" y="325"/>
                  </a:lnTo>
                  <a:lnTo>
                    <a:pt x="380" y="357"/>
                  </a:lnTo>
                  <a:lnTo>
                    <a:pt x="376" y="391"/>
                  </a:lnTo>
                  <a:lnTo>
                    <a:pt x="376" y="391"/>
                  </a:lnTo>
                  <a:lnTo>
                    <a:pt x="370" y="421"/>
                  </a:lnTo>
                  <a:lnTo>
                    <a:pt x="360" y="449"/>
                  </a:lnTo>
                  <a:lnTo>
                    <a:pt x="360" y="449"/>
                  </a:lnTo>
                  <a:lnTo>
                    <a:pt x="352" y="461"/>
                  </a:lnTo>
                  <a:lnTo>
                    <a:pt x="346" y="471"/>
                  </a:lnTo>
                  <a:lnTo>
                    <a:pt x="336" y="481"/>
                  </a:lnTo>
                  <a:lnTo>
                    <a:pt x="326" y="489"/>
                  </a:lnTo>
                  <a:lnTo>
                    <a:pt x="326" y="489"/>
                  </a:lnTo>
                  <a:lnTo>
                    <a:pt x="318" y="495"/>
                  </a:lnTo>
                  <a:lnTo>
                    <a:pt x="306" y="499"/>
                  </a:lnTo>
                  <a:lnTo>
                    <a:pt x="294" y="501"/>
                  </a:lnTo>
                  <a:lnTo>
                    <a:pt x="282" y="503"/>
                  </a:lnTo>
                  <a:lnTo>
                    <a:pt x="268" y="501"/>
                  </a:lnTo>
                  <a:lnTo>
                    <a:pt x="256" y="499"/>
                  </a:lnTo>
                  <a:lnTo>
                    <a:pt x="244" y="495"/>
                  </a:lnTo>
                  <a:lnTo>
                    <a:pt x="234" y="489"/>
                  </a:lnTo>
                  <a:lnTo>
                    <a:pt x="234" y="489"/>
                  </a:lnTo>
                  <a:lnTo>
                    <a:pt x="224" y="481"/>
                  </a:lnTo>
                  <a:lnTo>
                    <a:pt x="216" y="473"/>
                  </a:lnTo>
                  <a:lnTo>
                    <a:pt x="210" y="463"/>
                  </a:lnTo>
                  <a:lnTo>
                    <a:pt x="202" y="451"/>
                  </a:lnTo>
                  <a:lnTo>
                    <a:pt x="202" y="451"/>
                  </a:lnTo>
                  <a:lnTo>
                    <a:pt x="192" y="425"/>
                  </a:lnTo>
                  <a:lnTo>
                    <a:pt x="184" y="395"/>
                  </a:lnTo>
                  <a:lnTo>
                    <a:pt x="184" y="395"/>
                  </a:lnTo>
                  <a:lnTo>
                    <a:pt x="180" y="361"/>
                  </a:lnTo>
                  <a:lnTo>
                    <a:pt x="178" y="331"/>
                  </a:lnTo>
                  <a:lnTo>
                    <a:pt x="178" y="331"/>
                  </a:lnTo>
                  <a:lnTo>
                    <a:pt x="180" y="297"/>
                  </a:lnTo>
                  <a:lnTo>
                    <a:pt x="184" y="263"/>
                  </a:lnTo>
                  <a:lnTo>
                    <a:pt x="184" y="263"/>
                  </a:lnTo>
                  <a:lnTo>
                    <a:pt x="190" y="232"/>
                  </a:lnTo>
                  <a:lnTo>
                    <a:pt x="196" y="216"/>
                  </a:lnTo>
                  <a:lnTo>
                    <a:pt x="202" y="204"/>
                  </a:lnTo>
                  <a:lnTo>
                    <a:pt x="202" y="204"/>
                  </a:lnTo>
                  <a:lnTo>
                    <a:pt x="208" y="192"/>
                  </a:lnTo>
                  <a:lnTo>
                    <a:pt x="216" y="182"/>
                  </a:lnTo>
                  <a:lnTo>
                    <a:pt x="224" y="174"/>
                  </a:lnTo>
                  <a:lnTo>
                    <a:pt x="234" y="166"/>
                  </a:lnTo>
                  <a:lnTo>
                    <a:pt x="234" y="166"/>
                  </a:lnTo>
                  <a:lnTo>
                    <a:pt x="244" y="158"/>
                  </a:lnTo>
                  <a:lnTo>
                    <a:pt x="256" y="154"/>
                  </a:lnTo>
                  <a:lnTo>
                    <a:pt x="268" y="152"/>
                  </a:lnTo>
                  <a:lnTo>
                    <a:pt x="284" y="152"/>
                  </a:lnTo>
                  <a:lnTo>
                    <a:pt x="284" y="152"/>
                  </a:lnTo>
                  <a:lnTo>
                    <a:pt x="298" y="152"/>
                  </a:lnTo>
                  <a:lnTo>
                    <a:pt x="310" y="154"/>
                  </a:lnTo>
                  <a:lnTo>
                    <a:pt x="320" y="158"/>
                  </a:lnTo>
                  <a:lnTo>
                    <a:pt x="330" y="164"/>
                  </a:lnTo>
                  <a:lnTo>
                    <a:pt x="330"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19" name="Freeform 200">
              <a:extLst>
                <a:ext uri="{FF2B5EF4-FFF2-40B4-BE49-F238E27FC236}">
                  <a16:creationId xmlns:a16="http://schemas.microsoft.com/office/drawing/2014/main" id="{76382EDF-741F-4A7A-A28A-88B9E011E701}"/>
                </a:ext>
              </a:extLst>
            </p:cNvPr>
            <p:cNvSpPr>
              <a:spLocks/>
            </p:cNvSpPr>
            <p:nvPr/>
          </p:nvSpPr>
          <p:spPr bwMode="auto">
            <a:xfrm>
              <a:off x="7480300" y="1663700"/>
              <a:ext cx="1397000" cy="1974850"/>
            </a:xfrm>
            <a:custGeom>
              <a:avLst/>
              <a:gdLst>
                <a:gd name="T0" fmla="*/ 880 w 880"/>
                <a:gd name="T1" fmla="*/ 0 h 1244"/>
                <a:gd name="T2" fmla="*/ 698 w 880"/>
                <a:gd name="T3" fmla="*/ 0 h 1244"/>
                <a:gd name="T4" fmla="*/ 0 w 880"/>
                <a:gd name="T5" fmla="*/ 1244 h 1244"/>
                <a:gd name="T6" fmla="*/ 184 w 880"/>
                <a:gd name="T7" fmla="*/ 1244 h 1244"/>
                <a:gd name="T8" fmla="*/ 880 w 880"/>
                <a:gd name="T9" fmla="*/ 0 h 1244"/>
              </a:gdLst>
              <a:ahLst/>
              <a:cxnLst>
                <a:cxn ang="0">
                  <a:pos x="T0" y="T1"/>
                </a:cxn>
                <a:cxn ang="0">
                  <a:pos x="T2" y="T3"/>
                </a:cxn>
                <a:cxn ang="0">
                  <a:pos x="T4" y="T5"/>
                </a:cxn>
                <a:cxn ang="0">
                  <a:pos x="T6" y="T7"/>
                </a:cxn>
                <a:cxn ang="0">
                  <a:pos x="T8" y="T9"/>
                </a:cxn>
              </a:cxnLst>
              <a:rect l="0" t="0" r="r" b="b"/>
              <a:pathLst>
                <a:path w="880" h="1244">
                  <a:moveTo>
                    <a:pt x="880" y="0"/>
                  </a:moveTo>
                  <a:lnTo>
                    <a:pt x="698" y="0"/>
                  </a:lnTo>
                  <a:lnTo>
                    <a:pt x="0" y="1244"/>
                  </a:lnTo>
                  <a:lnTo>
                    <a:pt x="184" y="1244"/>
                  </a:lnTo>
                  <a:lnTo>
                    <a:pt x="8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20" name="Freeform 201">
              <a:extLst>
                <a:ext uri="{FF2B5EF4-FFF2-40B4-BE49-F238E27FC236}">
                  <a16:creationId xmlns:a16="http://schemas.microsoft.com/office/drawing/2014/main" id="{76D2BCF5-17DF-4137-A228-2908C62452BD}"/>
                </a:ext>
              </a:extLst>
            </p:cNvPr>
            <p:cNvSpPr>
              <a:spLocks noEditPoints="1"/>
            </p:cNvSpPr>
            <p:nvPr/>
          </p:nvSpPr>
          <p:spPr bwMode="auto">
            <a:xfrm>
              <a:off x="7658100" y="4113213"/>
              <a:ext cx="454025" cy="533400"/>
            </a:xfrm>
            <a:custGeom>
              <a:avLst/>
              <a:gdLst>
                <a:gd name="T0" fmla="*/ 262 w 286"/>
                <a:gd name="T1" fmla="*/ 266 h 336"/>
                <a:gd name="T2" fmla="*/ 278 w 286"/>
                <a:gd name="T3" fmla="*/ 230 h 336"/>
                <a:gd name="T4" fmla="*/ 286 w 286"/>
                <a:gd name="T5" fmla="*/ 168 h 336"/>
                <a:gd name="T6" fmla="*/ 284 w 286"/>
                <a:gd name="T7" fmla="*/ 144 h 336"/>
                <a:gd name="T8" fmla="*/ 278 w 286"/>
                <a:gd name="T9" fmla="*/ 104 h 336"/>
                <a:gd name="T10" fmla="*/ 260 w 286"/>
                <a:gd name="T11" fmla="*/ 64 h 336"/>
                <a:gd name="T12" fmla="*/ 240 w 286"/>
                <a:gd name="T13" fmla="*/ 36 h 336"/>
                <a:gd name="T14" fmla="*/ 208 w 286"/>
                <a:gd name="T15" fmla="*/ 12 h 336"/>
                <a:gd name="T16" fmla="*/ 208 w 286"/>
                <a:gd name="T17" fmla="*/ 12 h 336"/>
                <a:gd name="T18" fmla="*/ 208 w 286"/>
                <a:gd name="T19" fmla="*/ 12 h 336"/>
                <a:gd name="T20" fmla="*/ 178 w 286"/>
                <a:gd name="T21" fmla="*/ 2 h 336"/>
                <a:gd name="T22" fmla="*/ 144 w 286"/>
                <a:gd name="T23" fmla="*/ 0 h 336"/>
                <a:gd name="T24" fmla="*/ 94 w 286"/>
                <a:gd name="T25" fmla="*/ 8 h 336"/>
                <a:gd name="T26" fmla="*/ 66 w 286"/>
                <a:gd name="T27" fmla="*/ 20 h 336"/>
                <a:gd name="T28" fmla="*/ 34 w 286"/>
                <a:gd name="T29" fmla="*/ 50 h 336"/>
                <a:gd name="T30" fmla="*/ 14 w 286"/>
                <a:gd name="T31" fmla="*/ 90 h 336"/>
                <a:gd name="T32" fmla="*/ 8 w 286"/>
                <a:gd name="T33" fmla="*/ 104 h 336"/>
                <a:gd name="T34" fmla="*/ 0 w 286"/>
                <a:gd name="T35" fmla="*/ 168 h 336"/>
                <a:gd name="T36" fmla="*/ 8 w 286"/>
                <a:gd name="T37" fmla="*/ 230 h 336"/>
                <a:gd name="T38" fmla="*/ 26 w 286"/>
                <a:gd name="T39" fmla="*/ 272 h 336"/>
                <a:gd name="T40" fmla="*/ 38 w 286"/>
                <a:gd name="T41" fmla="*/ 288 h 336"/>
                <a:gd name="T42" fmla="*/ 56 w 286"/>
                <a:gd name="T43" fmla="*/ 308 h 336"/>
                <a:gd name="T44" fmla="*/ 78 w 286"/>
                <a:gd name="T45" fmla="*/ 322 h 336"/>
                <a:gd name="T46" fmla="*/ 124 w 286"/>
                <a:gd name="T47" fmla="*/ 334 h 336"/>
                <a:gd name="T48" fmla="*/ 160 w 286"/>
                <a:gd name="T49" fmla="*/ 334 h 336"/>
                <a:gd name="T50" fmla="*/ 208 w 286"/>
                <a:gd name="T51" fmla="*/ 322 h 336"/>
                <a:gd name="T52" fmla="*/ 232 w 286"/>
                <a:gd name="T53" fmla="*/ 306 h 336"/>
                <a:gd name="T54" fmla="*/ 252 w 286"/>
                <a:gd name="T55" fmla="*/ 284 h 336"/>
                <a:gd name="T56" fmla="*/ 94 w 286"/>
                <a:gd name="T57" fmla="*/ 264 h 336"/>
                <a:gd name="T58" fmla="*/ 92 w 286"/>
                <a:gd name="T59" fmla="*/ 264 h 336"/>
                <a:gd name="T60" fmla="*/ 74 w 286"/>
                <a:gd name="T61" fmla="*/ 230 h 336"/>
                <a:gd name="T62" fmla="*/ 66 w 286"/>
                <a:gd name="T63" fmla="*/ 190 h 336"/>
                <a:gd name="T64" fmla="*/ 66 w 286"/>
                <a:gd name="T65" fmla="*/ 150 h 336"/>
                <a:gd name="T66" fmla="*/ 74 w 286"/>
                <a:gd name="T67" fmla="*/ 108 h 336"/>
                <a:gd name="T68" fmla="*/ 92 w 286"/>
                <a:gd name="T69" fmla="*/ 74 h 336"/>
                <a:gd name="T70" fmla="*/ 106 w 286"/>
                <a:gd name="T71" fmla="*/ 60 h 336"/>
                <a:gd name="T72" fmla="*/ 134 w 286"/>
                <a:gd name="T73" fmla="*/ 50 h 336"/>
                <a:gd name="T74" fmla="*/ 156 w 286"/>
                <a:gd name="T75" fmla="*/ 50 h 336"/>
                <a:gd name="T76" fmla="*/ 182 w 286"/>
                <a:gd name="T77" fmla="*/ 60 h 336"/>
                <a:gd name="T78" fmla="*/ 204 w 286"/>
                <a:gd name="T79" fmla="*/ 90 h 336"/>
                <a:gd name="T80" fmla="*/ 216 w 286"/>
                <a:gd name="T81" fmla="*/ 128 h 336"/>
                <a:gd name="T82" fmla="*/ 220 w 286"/>
                <a:gd name="T83" fmla="*/ 168 h 336"/>
                <a:gd name="T84" fmla="*/ 216 w 286"/>
                <a:gd name="T85" fmla="*/ 208 h 336"/>
                <a:gd name="T86" fmla="*/ 204 w 286"/>
                <a:gd name="T87" fmla="*/ 246 h 336"/>
                <a:gd name="T88" fmla="*/ 194 w 286"/>
                <a:gd name="T89" fmla="*/ 262 h 336"/>
                <a:gd name="T90" fmla="*/ 180 w 286"/>
                <a:gd name="T91" fmla="*/ 276 h 336"/>
                <a:gd name="T92" fmla="*/ 168 w 286"/>
                <a:gd name="T93" fmla="*/ 282 h 336"/>
                <a:gd name="T94" fmla="*/ 152 w 286"/>
                <a:gd name="T95" fmla="*/ 286 h 336"/>
                <a:gd name="T96" fmla="*/ 142 w 286"/>
                <a:gd name="T97" fmla="*/ 288 h 336"/>
                <a:gd name="T98" fmla="*/ 122 w 286"/>
                <a:gd name="T99" fmla="*/ 284 h 336"/>
                <a:gd name="T100" fmla="*/ 106 w 286"/>
                <a:gd name="T101" fmla="*/ 27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36">
                  <a:moveTo>
                    <a:pt x="252" y="284"/>
                  </a:moveTo>
                  <a:lnTo>
                    <a:pt x="252" y="284"/>
                  </a:lnTo>
                  <a:lnTo>
                    <a:pt x="262" y="266"/>
                  </a:lnTo>
                  <a:lnTo>
                    <a:pt x="272" y="246"/>
                  </a:lnTo>
                  <a:lnTo>
                    <a:pt x="272" y="246"/>
                  </a:lnTo>
                  <a:lnTo>
                    <a:pt x="278" y="230"/>
                  </a:lnTo>
                  <a:lnTo>
                    <a:pt x="278" y="230"/>
                  </a:lnTo>
                  <a:lnTo>
                    <a:pt x="284" y="200"/>
                  </a:lnTo>
                  <a:lnTo>
                    <a:pt x="286" y="168"/>
                  </a:lnTo>
                  <a:lnTo>
                    <a:pt x="286" y="168"/>
                  </a:lnTo>
                  <a:lnTo>
                    <a:pt x="284" y="144"/>
                  </a:lnTo>
                  <a:lnTo>
                    <a:pt x="284" y="144"/>
                  </a:lnTo>
                  <a:lnTo>
                    <a:pt x="282" y="124"/>
                  </a:lnTo>
                  <a:lnTo>
                    <a:pt x="278" y="104"/>
                  </a:lnTo>
                  <a:lnTo>
                    <a:pt x="278" y="104"/>
                  </a:lnTo>
                  <a:lnTo>
                    <a:pt x="270" y="82"/>
                  </a:lnTo>
                  <a:lnTo>
                    <a:pt x="260" y="64"/>
                  </a:lnTo>
                  <a:lnTo>
                    <a:pt x="260" y="64"/>
                  </a:lnTo>
                  <a:lnTo>
                    <a:pt x="252" y="50"/>
                  </a:lnTo>
                  <a:lnTo>
                    <a:pt x="252" y="50"/>
                  </a:lnTo>
                  <a:lnTo>
                    <a:pt x="240" y="36"/>
                  </a:lnTo>
                  <a:lnTo>
                    <a:pt x="240" y="36"/>
                  </a:lnTo>
                  <a:lnTo>
                    <a:pt x="226" y="24"/>
                  </a:lnTo>
                  <a:lnTo>
                    <a:pt x="208" y="12"/>
                  </a:lnTo>
                  <a:lnTo>
                    <a:pt x="208" y="12"/>
                  </a:lnTo>
                  <a:lnTo>
                    <a:pt x="208" y="12"/>
                  </a:lnTo>
                  <a:lnTo>
                    <a:pt x="208" y="12"/>
                  </a:lnTo>
                  <a:lnTo>
                    <a:pt x="208" y="12"/>
                  </a:lnTo>
                  <a:lnTo>
                    <a:pt x="208" y="12"/>
                  </a:lnTo>
                  <a:lnTo>
                    <a:pt x="208" y="12"/>
                  </a:lnTo>
                  <a:lnTo>
                    <a:pt x="208" y="12"/>
                  </a:lnTo>
                  <a:lnTo>
                    <a:pt x="194" y="6"/>
                  </a:lnTo>
                  <a:lnTo>
                    <a:pt x="178" y="2"/>
                  </a:lnTo>
                  <a:lnTo>
                    <a:pt x="162" y="0"/>
                  </a:lnTo>
                  <a:lnTo>
                    <a:pt x="144" y="0"/>
                  </a:lnTo>
                  <a:lnTo>
                    <a:pt x="144" y="0"/>
                  </a:lnTo>
                  <a:lnTo>
                    <a:pt x="126" y="0"/>
                  </a:lnTo>
                  <a:lnTo>
                    <a:pt x="108" y="2"/>
                  </a:lnTo>
                  <a:lnTo>
                    <a:pt x="94" y="8"/>
                  </a:lnTo>
                  <a:lnTo>
                    <a:pt x="80" y="14"/>
                  </a:lnTo>
                  <a:lnTo>
                    <a:pt x="80" y="14"/>
                  </a:lnTo>
                  <a:lnTo>
                    <a:pt x="66" y="20"/>
                  </a:lnTo>
                  <a:lnTo>
                    <a:pt x="54" y="30"/>
                  </a:lnTo>
                  <a:lnTo>
                    <a:pt x="44" y="40"/>
                  </a:lnTo>
                  <a:lnTo>
                    <a:pt x="34" y="50"/>
                  </a:lnTo>
                  <a:lnTo>
                    <a:pt x="34" y="50"/>
                  </a:lnTo>
                  <a:lnTo>
                    <a:pt x="24" y="70"/>
                  </a:lnTo>
                  <a:lnTo>
                    <a:pt x="14" y="90"/>
                  </a:lnTo>
                  <a:lnTo>
                    <a:pt x="14" y="90"/>
                  </a:lnTo>
                  <a:lnTo>
                    <a:pt x="8" y="104"/>
                  </a:lnTo>
                  <a:lnTo>
                    <a:pt x="8" y="104"/>
                  </a:lnTo>
                  <a:lnTo>
                    <a:pt x="2" y="136"/>
                  </a:lnTo>
                  <a:lnTo>
                    <a:pt x="0" y="168"/>
                  </a:lnTo>
                  <a:lnTo>
                    <a:pt x="0" y="168"/>
                  </a:lnTo>
                  <a:lnTo>
                    <a:pt x="2" y="200"/>
                  </a:lnTo>
                  <a:lnTo>
                    <a:pt x="8" y="230"/>
                  </a:lnTo>
                  <a:lnTo>
                    <a:pt x="8" y="230"/>
                  </a:lnTo>
                  <a:lnTo>
                    <a:pt x="12" y="246"/>
                  </a:lnTo>
                  <a:lnTo>
                    <a:pt x="18" y="260"/>
                  </a:lnTo>
                  <a:lnTo>
                    <a:pt x="26" y="272"/>
                  </a:lnTo>
                  <a:lnTo>
                    <a:pt x="34" y="284"/>
                  </a:lnTo>
                  <a:lnTo>
                    <a:pt x="34" y="284"/>
                  </a:lnTo>
                  <a:lnTo>
                    <a:pt x="38" y="288"/>
                  </a:lnTo>
                  <a:lnTo>
                    <a:pt x="38" y="288"/>
                  </a:lnTo>
                  <a:lnTo>
                    <a:pt x="48" y="298"/>
                  </a:lnTo>
                  <a:lnTo>
                    <a:pt x="56" y="308"/>
                  </a:lnTo>
                  <a:lnTo>
                    <a:pt x="68" y="316"/>
                  </a:lnTo>
                  <a:lnTo>
                    <a:pt x="78" y="322"/>
                  </a:lnTo>
                  <a:lnTo>
                    <a:pt x="78" y="322"/>
                  </a:lnTo>
                  <a:lnTo>
                    <a:pt x="92" y="328"/>
                  </a:lnTo>
                  <a:lnTo>
                    <a:pt x="108" y="332"/>
                  </a:lnTo>
                  <a:lnTo>
                    <a:pt x="124" y="334"/>
                  </a:lnTo>
                  <a:lnTo>
                    <a:pt x="142" y="336"/>
                  </a:lnTo>
                  <a:lnTo>
                    <a:pt x="142" y="336"/>
                  </a:lnTo>
                  <a:lnTo>
                    <a:pt x="160" y="334"/>
                  </a:lnTo>
                  <a:lnTo>
                    <a:pt x="178" y="332"/>
                  </a:lnTo>
                  <a:lnTo>
                    <a:pt x="194" y="328"/>
                  </a:lnTo>
                  <a:lnTo>
                    <a:pt x="208" y="322"/>
                  </a:lnTo>
                  <a:lnTo>
                    <a:pt x="208" y="322"/>
                  </a:lnTo>
                  <a:lnTo>
                    <a:pt x="220" y="314"/>
                  </a:lnTo>
                  <a:lnTo>
                    <a:pt x="232" y="306"/>
                  </a:lnTo>
                  <a:lnTo>
                    <a:pt x="242" y="296"/>
                  </a:lnTo>
                  <a:lnTo>
                    <a:pt x="252" y="284"/>
                  </a:lnTo>
                  <a:lnTo>
                    <a:pt x="252" y="284"/>
                  </a:lnTo>
                  <a:close/>
                  <a:moveTo>
                    <a:pt x="106" y="276"/>
                  </a:moveTo>
                  <a:lnTo>
                    <a:pt x="106" y="276"/>
                  </a:lnTo>
                  <a:lnTo>
                    <a:pt x="94" y="264"/>
                  </a:lnTo>
                  <a:lnTo>
                    <a:pt x="94" y="264"/>
                  </a:lnTo>
                  <a:lnTo>
                    <a:pt x="92" y="264"/>
                  </a:lnTo>
                  <a:lnTo>
                    <a:pt x="92" y="264"/>
                  </a:lnTo>
                  <a:lnTo>
                    <a:pt x="82" y="248"/>
                  </a:lnTo>
                  <a:lnTo>
                    <a:pt x="82" y="248"/>
                  </a:lnTo>
                  <a:lnTo>
                    <a:pt x="74" y="230"/>
                  </a:lnTo>
                  <a:lnTo>
                    <a:pt x="70" y="210"/>
                  </a:lnTo>
                  <a:lnTo>
                    <a:pt x="70" y="210"/>
                  </a:lnTo>
                  <a:lnTo>
                    <a:pt x="66" y="190"/>
                  </a:lnTo>
                  <a:lnTo>
                    <a:pt x="66" y="170"/>
                  </a:lnTo>
                  <a:lnTo>
                    <a:pt x="66" y="170"/>
                  </a:lnTo>
                  <a:lnTo>
                    <a:pt x="66" y="150"/>
                  </a:lnTo>
                  <a:lnTo>
                    <a:pt x="70" y="128"/>
                  </a:lnTo>
                  <a:lnTo>
                    <a:pt x="70" y="128"/>
                  </a:lnTo>
                  <a:lnTo>
                    <a:pt x="74" y="108"/>
                  </a:lnTo>
                  <a:lnTo>
                    <a:pt x="80" y="90"/>
                  </a:lnTo>
                  <a:lnTo>
                    <a:pt x="80" y="90"/>
                  </a:lnTo>
                  <a:lnTo>
                    <a:pt x="92" y="74"/>
                  </a:lnTo>
                  <a:lnTo>
                    <a:pt x="92" y="74"/>
                  </a:lnTo>
                  <a:lnTo>
                    <a:pt x="106" y="60"/>
                  </a:lnTo>
                  <a:lnTo>
                    <a:pt x="106" y="60"/>
                  </a:lnTo>
                  <a:lnTo>
                    <a:pt x="114" y="56"/>
                  </a:lnTo>
                  <a:lnTo>
                    <a:pt x="122" y="52"/>
                  </a:lnTo>
                  <a:lnTo>
                    <a:pt x="134" y="50"/>
                  </a:lnTo>
                  <a:lnTo>
                    <a:pt x="144" y="50"/>
                  </a:lnTo>
                  <a:lnTo>
                    <a:pt x="144" y="50"/>
                  </a:lnTo>
                  <a:lnTo>
                    <a:pt x="156" y="50"/>
                  </a:lnTo>
                  <a:lnTo>
                    <a:pt x="166" y="52"/>
                  </a:lnTo>
                  <a:lnTo>
                    <a:pt x="174" y="56"/>
                  </a:lnTo>
                  <a:lnTo>
                    <a:pt x="182" y="60"/>
                  </a:lnTo>
                  <a:lnTo>
                    <a:pt x="182" y="60"/>
                  </a:lnTo>
                  <a:lnTo>
                    <a:pt x="196" y="74"/>
                  </a:lnTo>
                  <a:lnTo>
                    <a:pt x="204" y="90"/>
                  </a:lnTo>
                  <a:lnTo>
                    <a:pt x="204" y="90"/>
                  </a:lnTo>
                  <a:lnTo>
                    <a:pt x="212" y="108"/>
                  </a:lnTo>
                  <a:lnTo>
                    <a:pt x="216" y="128"/>
                  </a:lnTo>
                  <a:lnTo>
                    <a:pt x="216" y="128"/>
                  </a:lnTo>
                  <a:lnTo>
                    <a:pt x="218" y="148"/>
                  </a:lnTo>
                  <a:lnTo>
                    <a:pt x="220" y="168"/>
                  </a:lnTo>
                  <a:lnTo>
                    <a:pt x="220" y="168"/>
                  </a:lnTo>
                  <a:lnTo>
                    <a:pt x="218" y="188"/>
                  </a:lnTo>
                  <a:lnTo>
                    <a:pt x="216" y="208"/>
                  </a:lnTo>
                  <a:lnTo>
                    <a:pt x="216" y="208"/>
                  </a:lnTo>
                  <a:lnTo>
                    <a:pt x="212" y="228"/>
                  </a:lnTo>
                  <a:lnTo>
                    <a:pt x="204" y="246"/>
                  </a:lnTo>
                  <a:lnTo>
                    <a:pt x="204" y="246"/>
                  </a:lnTo>
                  <a:lnTo>
                    <a:pt x="194" y="262"/>
                  </a:lnTo>
                  <a:lnTo>
                    <a:pt x="194" y="262"/>
                  </a:lnTo>
                  <a:lnTo>
                    <a:pt x="190" y="268"/>
                  </a:lnTo>
                  <a:lnTo>
                    <a:pt x="190" y="268"/>
                  </a:lnTo>
                  <a:lnTo>
                    <a:pt x="180" y="276"/>
                  </a:lnTo>
                  <a:lnTo>
                    <a:pt x="180" y="276"/>
                  </a:lnTo>
                  <a:lnTo>
                    <a:pt x="174" y="280"/>
                  </a:lnTo>
                  <a:lnTo>
                    <a:pt x="168" y="282"/>
                  </a:lnTo>
                  <a:lnTo>
                    <a:pt x="168" y="282"/>
                  </a:lnTo>
                  <a:lnTo>
                    <a:pt x="152" y="286"/>
                  </a:lnTo>
                  <a:lnTo>
                    <a:pt x="152" y="286"/>
                  </a:lnTo>
                  <a:lnTo>
                    <a:pt x="142" y="288"/>
                  </a:lnTo>
                  <a:lnTo>
                    <a:pt x="142" y="288"/>
                  </a:lnTo>
                  <a:lnTo>
                    <a:pt x="142" y="288"/>
                  </a:lnTo>
                  <a:lnTo>
                    <a:pt x="142" y="288"/>
                  </a:lnTo>
                  <a:lnTo>
                    <a:pt x="132" y="286"/>
                  </a:lnTo>
                  <a:lnTo>
                    <a:pt x="122" y="284"/>
                  </a:lnTo>
                  <a:lnTo>
                    <a:pt x="114" y="280"/>
                  </a:lnTo>
                  <a:lnTo>
                    <a:pt x="106" y="276"/>
                  </a:lnTo>
                  <a:lnTo>
                    <a:pt x="106"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21" name="Freeform 202">
              <a:extLst>
                <a:ext uri="{FF2B5EF4-FFF2-40B4-BE49-F238E27FC236}">
                  <a16:creationId xmlns:a16="http://schemas.microsoft.com/office/drawing/2014/main" id="{95C218B4-3D60-406F-90DC-3C2836714EB7}"/>
                </a:ext>
              </a:extLst>
            </p:cNvPr>
            <p:cNvSpPr>
              <a:spLocks noEditPoints="1"/>
            </p:cNvSpPr>
            <p:nvPr/>
          </p:nvSpPr>
          <p:spPr bwMode="auto">
            <a:xfrm>
              <a:off x="8397875" y="4605338"/>
              <a:ext cx="454025" cy="534988"/>
            </a:xfrm>
            <a:custGeom>
              <a:avLst/>
              <a:gdLst>
                <a:gd name="T0" fmla="*/ 278 w 286"/>
                <a:gd name="T1" fmla="*/ 105 h 337"/>
                <a:gd name="T2" fmla="*/ 278 w 286"/>
                <a:gd name="T3" fmla="*/ 105 h 337"/>
                <a:gd name="T4" fmla="*/ 264 w 286"/>
                <a:gd name="T5" fmla="*/ 70 h 337"/>
                <a:gd name="T6" fmla="*/ 252 w 286"/>
                <a:gd name="T7" fmla="*/ 50 h 337"/>
                <a:gd name="T8" fmla="*/ 216 w 286"/>
                <a:gd name="T9" fmla="*/ 20 h 337"/>
                <a:gd name="T10" fmla="*/ 208 w 286"/>
                <a:gd name="T11" fmla="*/ 14 h 337"/>
                <a:gd name="T12" fmla="*/ 166 w 286"/>
                <a:gd name="T13" fmla="*/ 2 h 337"/>
                <a:gd name="T14" fmla="*/ 144 w 286"/>
                <a:gd name="T15" fmla="*/ 0 h 337"/>
                <a:gd name="T16" fmla="*/ 110 w 286"/>
                <a:gd name="T17" fmla="*/ 4 h 337"/>
                <a:gd name="T18" fmla="*/ 80 w 286"/>
                <a:gd name="T19" fmla="*/ 14 h 337"/>
                <a:gd name="T20" fmla="*/ 48 w 286"/>
                <a:gd name="T21" fmla="*/ 38 h 337"/>
                <a:gd name="T22" fmla="*/ 28 w 286"/>
                <a:gd name="T23" fmla="*/ 64 h 337"/>
                <a:gd name="T24" fmla="*/ 14 w 286"/>
                <a:gd name="T25" fmla="*/ 90 h 337"/>
                <a:gd name="T26" fmla="*/ 2 w 286"/>
                <a:gd name="T27" fmla="*/ 137 h 337"/>
                <a:gd name="T28" fmla="*/ 2 w 286"/>
                <a:gd name="T29" fmla="*/ 203 h 337"/>
                <a:gd name="T30" fmla="*/ 14 w 286"/>
                <a:gd name="T31" fmla="*/ 247 h 337"/>
                <a:gd name="T32" fmla="*/ 20 w 286"/>
                <a:gd name="T33" fmla="*/ 261 h 337"/>
                <a:gd name="T34" fmla="*/ 34 w 286"/>
                <a:gd name="T35" fmla="*/ 287 h 337"/>
                <a:gd name="T36" fmla="*/ 54 w 286"/>
                <a:gd name="T37" fmla="*/ 307 h 337"/>
                <a:gd name="T38" fmla="*/ 80 w 286"/>
                <a:gd name="T39" fmla="*/ 323 h 337"/>
                <a:gd name="T40" fmla="*/ 100 w 286"/>
                <a:gd name="T41" fmla="*/ 331 h 337"/>
                <a:gd name="T42" fmla="*/ 144 w 286"/>
                <a:gd name="T43" fmla="*/ 337 h 337"/>
                <a:gd name="T44" fmla="*/ 144 w 286"/>
                <a:gd name="T45" fmla="*/ 337 h 337"/>
                <a:gd name="T46" fmla="*/ 162 w 286"/>
                <a:gd name="T47" fmla="*/ 337 h 337"/>
                <a:gd name="T48" fmla="*/ 206 w 286"/>
                <a:gd name="T49" fmla="*/ 325 h 337"/>
                <a:gd name="T50" fmla="*/ 208 w 286"/>
                <a:gd name="T51" fmla="*/ 323 h 337"/>
                <a:gd name="T52" fmla="*/ 232 w 286"/>
                <a:gd name="T53" fmla="*/ 307 h 337"/>
                <a:gd name="T54" fmla="*/ 236 w 286"/>
                <a:gd name="T55" fmla="*/ 305 h 337"/>
                <a:gd name="T56" fmla="*/ 252 w 286"/>
                <a:gd name="T57" fmla="*/ 287 h 337"/>
                <a:gd name="T58" fmla="*/ 272 w 286"/>
                <a:gd name="T59" fmla="*/ 249 h 337"/>
                <a:gd name="T60" fmla="*/ 278 w 286"/>
                <a:gd name="T61" fmla="*/ 233 h 337"/>
                <a:gd name="T62" fmla="*/ 278 w 286"/>
                <a:gd name="T63" fmla="*/ 229 h 337"/>
                <a:gd name="T64" fmla="*/ 286 w 286"/>
                <a:gd name="T65" fmla="*/ 169 h 337"/>
                <a:gd name="T66" fmla="*/ 278 w 286"/>
                <a:gd name="T67" fmla="*/ 109 h 337"/>
                <a:gd name="T68" fmla="*/ 196 w 286"/>
                <a:gd name="T69" fmla="*/ 265 h 337"/>
                <a:gd name="T70" fmla="*/ 174 w 286"/>
                <a:gd name="T71" fmla="*/ 281 h 337"/>
                <a:gd name="T72" fmla="*/ 144 w 286"/>
                <a:gd name="T73" fmla="*/ 289 h 337"/>
                <a:gd name="T74" fmla="*/ 116 w 286"/>
                <a:gd name="T75" fmla="*/ 283 h 337"/>
                <a:gd name="T76" fmla="*/ 106 w 286"/>
                <a:gd name="T77" fmla="*/ 277 h 337"/>
                <a:gd name="T78" fmla="*/ 98 w 286"/>
                <a:gd name="T79" fmla="*/ 267 h 337"/>
                <a:gd name="T80" fmla="*/ 82 w 286"/>
                <a:gd name="T81" fmla="*/ 249 h 337"/>
                <a:gd name="T82" fmla="*/ 74 w 286"/>
                <a:gd name="T83" fmla="*/ 225 h 337"/>
                <a:gd name="T84" fmla="*/ 68 w 286"/>
                <a:gd name="T85" fmla="*/ 197 h 337"/>
                <a:gd name="T86" fmla="*/ 66 w 286"/>
                <a:gd name="T87" fmla="*/ 173 h 337"/>
                <a:gd name="T88" fmla="*/ 70 w 286"/>
                <a:gd name="T89" fmla="*/ 131 h 337"/>
                <a:gd name="T90" fmla="*/ 76 w 286"/>
                <a:gd name="T91" fmla="*/ 109 h 337"/>
                <a:gd name="T92" fmla="*/ 82 w 286"/>
                <a:gd name="T93" fmla="*/ 92 h 337"/>
                <a:gd name="T94" fmla="*/ 84 w 286"/>
                <a:gd name="T95" fmla="*/ 86 h 337"/>
                <a:gd name="T96" fmla="*/ 100 w 286"/>
                <a:gd name="T97" fmla="*/ 68 h 337"/>
                <a:gd name="T98" fmla="*/ 114 w 286"/>
                <a:gd name="T99" fmla="*/ 56 h 337"/>
                <a:gd name="T100" fmla="*/ 134 w 286"/>
                <a:gd name="T101" fmla="*/ 52 h 337"/>
                <a:gd name="T102" fmla="*/ 146 w 286"/>
                <a:gd name="T103" fmla="*/ 50 h 337"/>
                <a:gd name="T104" fmla="*/ 166 w 286"/>
                <a:gd name="T105" fmla="*/ 54 h 337"/>
                <a:gd name="T106" fmla="*/ 184 w 286"/>
                <a:gd name="T107" fmla="*/ 62 h 337"/>
                <a:gd name="T108" fmla="*/ 188 w 286"/>
                <a:gd name="T109" fmla="*/ 66 h 337"/>
                <a:gd name="T110" fmla="*/ 204 w 286"/>
                <a:gd name="T111" fmla="*/ 86 h 337"/>
                <a:gd name="T112" fmla="*/ 214 w 286"/>
                <a:gd name="T113" fmla="*/ 111 h 337"/>
                <a:gd name="T114" fmla="*/ 220 w 286"/>
                <a:gd name="T115" fmla="*/ 151 h 337"/>
                <a:gd name="T116" fmla="*/ 220 w 286"/>
                <a:gd name="T117" fmla="*/ 189 h 337"/>
                <a:gd name="T118" fmla="*/ 214 w 286"/>
                <a:gd name="T119" fmla="*/ 227 h 337"/>
                <a:gd name="T120" fmla="*/ 206 w 286"/>
                <a:gd name="T121" fmla="*/ 24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6" h="337">
                  <a:moveTo>
                    <a:pt x="278" y="109"/>
                  </a:moveTo>
                  <a:lnTo>
                    <a:pt x="278" y="109"/>
                  </a:lnTo>
                  <a:lnTo>
                    <a:pt x="278" y="105"/>
                  </a:lnTo>
                  <a:lnTo>
                    <a:pt x="278" y="105"/>
                  </a:lnTo>
                  <a:lnTo>
                    <a:pt x="278" y="105"/>
                  </a:lnTo>
                  <a:lnTo>
                    <a:pt x="278" y="105"/>
                  </a:lnTo>
                  <a:lnTo>
                    <a:pt x="278" y="105"/>
                  </a:lnTo>
                  <a:lnTo>
                    <a:pt x="272" y="86"/>
                  </a:lnTo>
                  <a:lnTo>
                    <a:pt x="264" y="70"/>
                  </a:lnTo>
                  <a:lnTo>
                    <a:pt x="264" y="70"/>
                  </a:lnTo>
                  <a:lnTo>
                    <a:pt x="252" y="50"/>
                  </a:lnTo>
                  <a:lnTo>
                    <a:pt x="252" y="50"/>
                  </a:lnTo>
                  <a:lnTo>
                    <a:pt x="244" y="42"/>
                  </a:lnTo>
                  <a:lnTo>
                    <a:pt x="236" y="34"/>
                  </a:lnTo>
                  <a:lnTo>
                    <a:pt x="216" y="20"/>
                  </a:lnTo>
                  <a:lnTo>
                    <a:pt x="216" y="20"/>
                  </a:lnTo>
                  <a:lnTo>
                    <a:pt x="208" y="14"/>
                  </a:lnTo>
                  <a:lnTo>
                    <a:pt x="208" y="14"/>
                  </a:lnTo>
                  <a:lnTo>
                    <a:pt x="196" y="8"/>
                  </a:lnTo>
                  <a:lnTo>
                    <a:pt x="180" y="4"/>
                  </a:lnTo>
                  <a:lnTo>
                    <a:pt x="166" y="2"/>
                  </a:lnTo>
                  <a:lnTo>
                    <a:pt x="148" y="0"/>
                  </a:lnTo>
                  <a:lnTo>
                    <a:pt x="148" y="0"/>
                  </a:lnTo>
                  <a:lnTo>
                    <a:pt x="144" y="0"/>
                  </a:lnTo>
                  <a:lnTo>
                    <a:pt x="144" y="0"/>
                  </a:lnTo>
                  <a:lnTo>
                    <a:pt x="126" y="0"/>
                  </a:lnTo>
                  <a:lnTo>
                    <a:pt x="110" y="4"/>
                  </a:lnTo>
                  <a:lnTo>
                    <a:pt x="94" y="8"/>
                  </a:lnTo>
                  <a:lnTo>
                    <a:pt x="80" y="14"/>
                  </a:lnTo>
                  <a:lnTo>
                    <a:pt x="80" y="14"/>
                  </a:lnTo>
                  <a:lnTo>
                    <a:pt x="62" y="26"/>
                  </a:lnTo>
                  <a:lnTo>
                    <a:pt x="62" y="26"/>
                  </a:lnTo>
                  <a:lnTo>
                    <a:pt x="48" y="38"/>
                  </a:lnTo>
                  <a:lnTo>
                    <a:pt x="36" y="52"/>
                  </a:lnTo>
                  <a:lnTo>
                    <a:pt x="36" y="52"/>
                  </a:lnTo>
                  <a:lnTo>
                    <a:pt x="28" y="64"/>
                  </a:lnTo>
                  <a:lnTo>
                    <a:pt x="20" y="76"/>
                  </a:lnTo>
                  <a:lnTo>
                    <a:pt x="20" y="76"/>
                  </a:lnTo>
                  <a:lnTo>
                    <a:pt x="14" y="90"/>
                  </a:lnTo>
                  <a:lnTo>
                    <a:pt x="10" y="107"/>
                  </a:lnTo>
                  <a:lnTo>
                    <a:pt x="10" y="107"/>
                  </a:lnTo>
                  <a:lnTo>
                    <a:pt x="2" y="137"/>
                  </a:lnTo>
                  <a:lnTo>
                    <a:pt x="0" y="171"/>
                  </a:lnTo>
                  <a:lnTo>
                    <a:pt x="0" y="171"/>
                  </a:lnTo>
                  <a:lnTo>
                    <a:pt x="2" y="203"/>
                  </a:lnTo>
                  <a:lnTo>
                    <a:pt x="8" y="233"/>
                  </a:lnTo>
                  <a:lnTo>
                    <a:pt x="8" y="233"/>
                  </a:lnTo>
                  <a:lnTo>
                    <a:pt x="14" y="247"/>
                  </a:lnTo>
                  <a:lnTo>
                    <a:pt x="18" y="261"/>
                  </a:lnTo>
                  <a:lnTo>
                    <a:pt x="18" y="261"/>
                  </a:lnTo>
                  <a:lnTo>
                    <a:pt x="20" y="261"/>
                  </a:lnTo>
                  <a:lnTo>
                    <a:pt x="20" y="261"/>
                  </a:lnTo>
                  <a:lnTo>
                    <a:pt x="26" y="275"/>
                  </a:lnTo>
                  <a:lnTo>
                    <a:pt x="34" y="287"/>
                  </a:lnTo>
                  <a:lnTo>
                    <a:pt x="34" y="287"/>
                  </a:lnTo>
                  <a:lnTo>
                    <a:pt x="44" y="297"/>
                  </a:lnTo>
                  <a:lnTo>
                    <a:pt x="54" y="307"/>
                  </a:lnTo>
                  <a:lnTo>
                    <a:pt x="54" y="307"/>
                  </a:lnTo>
                  <a:lnTo>
                    <a:pt x="66" y="317"/>
                  </a:lnTo>
                  <a:lnTo>
                    <a:pt x="80" y="323"/>
                  </a:lnTo>
                  <a:lnTo>
                    <a:pt x="80" y="323"/>
                  </a:lnTo>
                  <a:lnTo>
                    <a:pt x="88" y="329"/>
                  </a:lnTo>
                  <a:lnTo>
                    <a:pt x="100" y="331"/>
                  </a:lnTo>
                  <a:lnTo>
                    <a:pt x="122" y="335"/>
                  </a:lnTo>
                  <a:lnTo>
                    <a:pt x="122" y="335"/>
                  </a:lnTo>
                  <a:lnTo>
                    <a:pt x="144" y="337"/>
                  </a:lnTo>
                  <a:lnTo>
                    <a:pt x="144" y="337"/>
                  </a:lnTo>
                  <a:lnTo>
                    <a:pt x="144" y="337"/>
                  </a:lnTo>
                  <a:lnTo>
                    <a:pt x="144" y="337"/>
                  </a:lnTo>
                  <a:lnTo>
                    <a:pt x="144" y="337"/>
                  </a:lnTo>
                  <a:lnTo>
                    <a:pt x="144" y="337"/>
                  </a:lnTo>
                  <a:lnTo>
                    <a:pt x="162" y="337"/>
                  </a:lnTo>
                  <a:lnTo>
                    <a:pt x="178" y="335"/>
                  </a:lnTo>
                  <a:lnTo>
                    <a:pt x="192" y="331"/>
                  </a:lnTo>
                  <a:lnTo>
                    <a:pt x="206" y="325"/>
                  </a:lnTo>
                  <a:lnTo>
                    <a:pt x="206" y="325"/>
                  </a:lnTo>
                  <a:lnTo>
                    <a:pt x="208" y="323"/>
                  </a:lnTo>
                  <a:lnTo>
                    <a:pt x="208" y="323"/>
                  </a:lnTo>
                  <a:lnTo>
                    <a:pt x="218" y="317"/>
                  </a:lnTo>
                  <a:lnTo>
                    <a:pt x="218" y="317"/>
                  </a:lnTo>
                  <a:lnTo>
                    <a:pt x="232" y="307"/>
                  </a:lnTo>
                  <a:lnTo>
                    <a:pt x="232" y="307"/>
                  </a:lnTo>
                  <a:lnTo>
                    <a:pt x="236" y="305"/>
                  </a:lnTo>
                  <a:lnTo>
                    <a:pt x="236" y="305"/>
                  </a:lnTo>
                  <a:lnTo>
                    <a:pt x="244" y="297"/>
                  </a:lnTo>
                  <a:lnTo>
                    <a:pt x="252" y="287"/>
                  </a:lnTo>
                  <a:lnTo>
                    <a:pt x="252" y="287"/>
                  </a:lnTo>
                  <a:lnTo>
                    <a:pt x="260" y="275"/>
                  </a:lnTo>
                  <a:lnTo>
                    <a:pt x="266" y="263"/>
                  </a:lnTo>
                  <a:lnTo>
                    <a:pt x="272" y="249"/>
                  </a:lnTo>
                  <a:lnTo>
                    <a:pt x="278" y="235"/>
                  </a:lnTo>
                  <a:lnTo>
                    <a:pt x="278" y="235"/>
                  </a:lnTo>
                  <a:lnTo>
                    <a:pt x="278" y="233"/>
                  </a:lnTo>
                  <a:lnTo>
                    <a:pt x="278" y="233"/>
                  </a:lnTo>
                  <a:lnTo>
                    <a:pt x="278" y="229"/>
                  </a:lnTo>
                  <a:lnTo>
                    <a:pt x="278" y="229"/>
                  </a:lnTo>
                  <a:lnTo>
                    <a:pt x="284" y="199"/>
                  </a:lnTo>
                  <a:lnTo>
                    <a:pt x="286" y="169"/>
                  </a:lnTo>
                  <a:lnTo>
                    <a:pt x="286" y="169"/>
                  </a:lnTo>
                  <a:lnTo>
                    <a:pt x="284" y="139"/>
                  </a:lnTo>
                  <a:lnTo>
                    <a:pt x="278" y="109"/>
                  </a:lnTo>
                  <a:lnTo>
                    <a:pt x="278" y="109"/>
                  </a:lnTo>
                  <a:close/>
                  <a:moveTo>
                    <a:pt x="206" y="249"/>
                  </a:moveTo>
                  <a:lnTo>
                    <a:pt x="206" y="249"/>
                  </a:lnTo>
                  <a:lnTo>
                    <a:pt x="196" y="265"/>
                  </a:lnTo>
                  <a:lnTo>
                    <a:pt x="182" y="277"/>
                  </a:lnTo>
                  <a:lnTo>
                    <a:pt x="182" y="277"/>
                  </a:lnTo>
                  <a:lnTo>
                    <a:pt x="174" y="281"/>
                  </a:lnTo>
                  <a:lnTo>
                    <a:pt x="166" y="285"/>
                  </a:lnTo>
                  <a:lnTo>
                    <a:pt x="156" y="287"/>
                  </a:lnTo>
                  <a:lnTo>
                    <a:pt x="144" y="289"/>
                  </a:lnTo>
                  <a:lnTo>
                    <a:pt x="144" y="289"/>
                  </a:lnTo>
                  <a:lnTo>
                    <a:pt x="130" y="287"/>
                  </a:lnTo>
                  <a:lnTo>
                    <a:pt x="116" y="283"/>
                  </a:lnTo>
                  <a:lnTo>
                    <a:pt x="116" y="283"/>
                  </a:lnTo>
                  <a:lnTo>
                    <a:pt x="106" y="277"/>
                  </a:lnTo>
                  <a:lnTo>
                    <a:pt x="106" y="277"/>
                  </a:lnTo>
                  <a:lnTo>
                    <a:pt x="102" y="273"/>
                  </a:lnTo>
                  <a:lnTo>
                    <a:pt x="98" y="267"/>
                  </a:lnTo>
                  <a:lnTo>
                    <a:pt x="98" y="267"/>
                  </a:lnTo>
                  <a:lnTo>
                    <a:pt x="90" y="259"/>
                  </a:lnTo>
                  <a:lnTo>
                    <a:pt x="82" y="249"/>
                  </a:lnTo>
                  <a:lnTo>
                    <a:pt x="82" y="249"/>
                  </a:lnTo>
                  <a:lnTo>
                    <a:pt x="76" y="237"/>
                  </a:lnTo>
                  <a:lnTo>
                    <a:pt x="74" y="225"/>
                  </a:lnTo>
                  <a:lnTo>
                    <a:pt x="74" y="225"/>
                  </a:lnTo>
                  <a:lnTo>
                    <a:pt x="70" y="211"/>
                  </a:lnTo>
                  <a:lnTo>
                    <a:pt x="70" y="211"/>
                  </a:lnTo>
                  <a:lnTo>
                    <a:pt x="68" y="197"/>
                  </a:lnTo>
                  <a:lnTo>
                    <a:pt x="68" y="197"/>
                  </a:lnTo>
                  <a:lnTo>
                    <a:pt x="66" y="173"/>
                  </a:lnTo>
                  <a:lnTo>
                    <a:pt x="66" y="173"/>
                  </a:lnTo>
                  <a:lnTo>
                    <a:pt x="68" y="147"/>
                  </a:lnTo>
                  <a:lnTo>
                    <a:pt x="68" y="147"/>
                  </a:lnTo>
                  <a:lnTo>
                    <a:pt x="70" y="131"/>
                  </a:lnTo>
                  <a:lnTo>
                    <a:pt x="70" y="131"/>
                  </a:lnTo>
                  <a:lnTo>
                    <a:pt x="72" y="119"/>
                  </a:lnTo>
                  <a:lnTo>
                    <a:pt x="76" y="109"/>
                  </a:lnTo>
                  <a:lnTo>
                    <a:pt x="76" y="109"/>
                  </a:lnTo>
                  <a:lnTo>
                    <a:pt x="78" y="101"/>
                  </a:lnTo>
                  <a:lnTo>
                    <a:pt x="82" y="92"/>
                  </a:lnTo>
                  <a:lnTo>
                    <a:pt x="82" y="92"/>
                  </a:lnTo>
                  <a:lnTo>
                    <a:pt x="84" y="86"/>
                  </a:lnTo>
                  <a:lnTo>
                    <a:pt x="84" y="86"/>
                  </a:lnTo>
                  <a:lnTo>
                    <a:pt x="92" y="76"/>
                  </a:lnTo>
                  <a:lnTo>
                    <a:pt x="100" y="68"/>
                  </a:lnTo>
                  <a:lnTo>
                    <a:pt x="100" y="68"/>
                  </a:lnTo>
                  <a:lnTo>
                    <a:pt x="106" y="62"/>
                  </a:lnTo>
                  <a:lnTo>
                    <a:pt x="106" y="62"/>
                  </a:lnTo>
                  <a:lnTo>
                    <a:pt x="114" y="56"/>
                  </a:lnTo>
                  <a:lnTo>
                    <a:pt x="124" y="54"/>
                  </a:lnTo>
                  <a:lnTo>
                    <a:pt x="124" y="54"/>
                  </a:lnTo>
                  <a:lnTo>
                    <a:pt x="134" y="52"/>
                  </a:lnTo>
                  <a:lnTo>
                    <a:pt x="134" y="52"/>
                  </a:lnTo>
                  <a:lnTo>
                    <a:pt x="146" y="50"/>
                  </a:lnTo>
                  <a:lnTo>
                    <a:pt x="146" y="50"/>
                  </a:lnTo>
                  <a:lnTo>
                    <a:pt x="156" y="52"/>
                  </a:lnTo>
                  <a:lnTo>
                    <a:pt x="156" y="52"/>
                  </a:lnTo>
                  <a:lnTo>
                    <a:pt x="166" y="54"/>
                  </a:lnTo>
                  <a:lnTo>
                    <a:pt x="176" y="58"/>
                  </a:lnTo>
                  <a:lnTo>
                    <a:pt x="176" y="58"/>
                  </a:lnTo>
                  <a:lnTo>
                    <a:pt x="184" y="62"/>
                  </a:lnTo>
                  <a:lnTo>
                    <a:pt x="184" y="62"/>
                  </a:lnTo>
                  <a:lnTo>
                    <a:pt x="188" y="66"/>
                  </a:lnTo>
                  <a:lnTo>
                    <a:pt x="188" y="66"/>
                  </a:lnTo>
                  <a:lnTo>
                    <a:pt x="196" y="76"/>
                  </a:lnTo>
                  <a:lnTo>
                    <a:pt x="204" y="86"/>
                  </a:lnTo>
                  <a:lnTo>
                    <a:pt x="204" y="86"/>
                  </a:lnTo>
                  <a:lnTo>
                    <a:pt x="206" y="92"/>
                  </a:lnTo>
                  <a:lnTo>
                    <a:pt x="206" y="92"/>
                  </a:lnTo>
                  <a:lnTo>
                    <a:pt x="214" y="111"/>
                  </a:lnTo>
                  <a:lnTo>
                    <a:pt x="218" y="131"/>
                  </a:lnTo>
                  <a:lnTo>
                    <a:pt x="218" y="131"/>
                  </a:lnTo>
                  <a:lnTo>
                    <a:pt x="220" y="151"/>
                  </a:lnTo>
                  <a:lnTo>
                    <a:pt x="220" y="171"/>
                  </a:lnTo>
                  <a:lnTo>
                    <a:pt x="220" y="171"/>
                  </a:lnTo>
                  <a:lnTo>
                    <a:pt x="220" y="189"/>
                  </a:lnTo>
                  <a:lnTo>
                    <a:pt x="218" y="211"/>
                  </a:lnTo>
                  <a:lnTo>
                    <a:pt x="218" y="211"/>
                  </a:lnTo>
                  <a:lnTo>
                    <a:pt x="214" y="227"/>
                  </a:lnTo>
                  <a:lnTo>
                    <a:pt x="208" y="241"/>
                  </a:lnTo>
                  <a:lnTo>
                    <a:pt x="208" y="241"/>
                  </a:lnTo>
                  <a:lnTo>
                    <a:pt x="206" y="249"/>
                  </a:lnTo>
                  <a:lnTo>
                    <a:pt x="206" y="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22" name="Freeform 203">
              <a:extLst>
                <a:ext uri="{FF2B5EF4-FFF2-40B4-BE49-F238E27FC236}">
                  <a16:creationId xmlns:a16="http://schemas.microsoft.com/office/drawing/2014/main" id="{532E141A-DDA4-4F1F-9760-B9E7E8F8780F}"/>
                </a:ext>
              </a:extLst>
            </p:cNvPr>
            <p:cNvSpPr>
              <a:spLocks/>
            </p:cNvSpPr>
            <p:nvPr/>
          </p:nvSpPr>
          <p:spPr bwMode="auto">
            <a:xfrm>
              <a:off x="7902575" y="4090988"/>
              <a:ext cx="701675" cy="1077913"/>
            </a:xfrm>
            <a:custGeom>
              <a:avLst/>
              <a:gdLst>
                <a:gd name="T0" fmla="*/ 442 w 442"/>
                <a:gd name="T1" fmla="*/ 0 h 679"/>
                <a:gd name="T2" fmla="*/ 442 w 442"/>
                <a:gd name="T3" fmla="*/ 0 h 679"/>
                <a:gd name="T4" fmla="*/ 380 w 442"/>
                <a:gd name="T5" fmla="*/ 0 h 679"/>
                <a:gd name="T6" fmla="*/ 380 w 442"/>
                <a:gd name="T7" fmla="*/ 0 h 679"/>
                <a:gd name="T8" fmla="*/ 380 w 442"/>
                <a:gd name="T9" fmla="*/ 0 h 679"/>
                <a:gd name="T10" fmla="*/ 230 w 442"/>
                <a:gd name="T11" fmla="*/ 270 h 679"/>
                <a:gd name="T12" fmla="*/ 0 w 442"/>
                <a:gd name="T13" fmla="*/ 679 h 679"/>
                <a:gd name="T14" fmla="*/ 0 w 442"/>
                <a:gd name="T15" fmla="*/ 679 h 679"/>
                <a:gd name="T16" fmla="*/ 0 w 442"/>
                <a:gd name="T17" fmla="*/ 679 h 679"/>
                <a:gd name="T18" fmla="*/ 62 w 442"/>
                <a:gd name="T19" fmla="*/ 679 h 679"/>
                <a:gd name="T20" fmla="*/ 442 w 442"/>
                <a:gd name="T21" fmla="*/ 0 h 679"/>
                <a:gd name="T22" fmla="*/ 442 w 442"/>
                <a:gd name="T23" fmla="*/ 0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2" h="679">
                  <a:moveTo>
                    <a:pt x="442" y="0"/>
                  </a:moveTo>
                  <a:lnTo>
                    <a:pt x="442" y="0"/>
                  </a:lnTo>
                  <a:lnTo>
                    <a:pt x="380" y="0"/>
                  </a:lnTo>
                  <a:lnTo>
                    <a:pt x="380" y="0"/>
                  </a:lnTo>
                  <a:lnTo>
                    <a:pt x="380" y="0"/>
                  </a:lnTo>
                  <a:lnTo>
                    <a:pt x="230" y="270"/>
                  </a:lnTo>
                  <a:lnTo>
                    <a:pt x="0" y="679"/>
                  </a:lnTo>
                  <a:lnTo>
                    <a:pt x="0" y="679"/>
                  </a:lnTo>
                  <a:lnTo>
                    <a:pt x="0" y="679"/>
                  </a:lnTo>
                  <a:lnTo>
                    <a:pt x="62" y="679"/>
                  </a:lnTo>
                  <a:lnTo>
                    <a:pt x="442" y="0"/>
                  </a:lnTo>
                  <a:lnTo>
                    <a:pt x="4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sp>
        <p:nvSpPr>
          <p:cNvPr id="70" name="Textplatzhalter 4">
            <a:extLst>
              <a:ext uri="{FF2B5EF4-FFF2-40B4-BE49-F238E27FC236}">
                <a16:creationId xmlns:a16="http://schemas.microsoft.com/office/drawing/2014/main" id="{7D01AEC5-2A30-40ED-AD07-9D67469BF371}"/>
              </a:ext>
            </a:extLst>
          </p:cNvPr>
          <p:cNvSpPr txBox="1">
            <a:spLocks/>
          </p:cNvSpPr>
          <p:nvPr/>
        </p:nvSpPr>
        <p:spPr bwMode="gray">
          <a:xfrm>
            <a:off x="1433109" y="7257564"/>
            <a:ext cx="5592436" cy="156005"/>
          </a:xfrm>
          <a:prstGeom prst="rect">
            <a:avLst/>
          </a:prstGeom>
        </p:spPr>
        <p:txBody>
          <a:bodyPr vert="horz" lIns="0" tIns="0" rIns="0" bIns="0" rtlCol="0">
            <a:noAutofit/>
          </a:bodyPr>
          <a:lstStyle>
            <a:lvl1pPr algn="l" rtl="0" eaLnBrk="1" fontAlgn="base" hangingPunct="1">
              <a:lnSpc>
                <a:spcPct val="106000"/>
              </a:lnSpc>
              <a:spcBef>
                <a:spcPts val="800"/>
              </a:spcBef>
              <a:spcAft>
                <a:spcPts val="0"/>
              </a:spcAft>
              <a:defRPr sz="1000" b="0" kern="1200">
                <a:solidFill>
                  <a:schemeClr val="accent2"/>
                </a:solidFill>
                <a:latin typeface="DWS Sans Light" panose="02010404010101010104" pitchFamily="50" charset="0"/>
                <a:ea typeface="ＭＳ Ｐゴシック" pitchFamily="-109" charset="-128"/>
                <a:cs typeface="DWS Sans Light" panose="02010404010101010104" pitchFamily="50" charset="0"/>
              </a:defRPr>
            </a:lvl1pPr>
            <a:lvl2pPr algn="l" rtl="0" eaLnBrk="1" fontAlgn="base" hangingPunct="1">
              <a:lnSpc>
                <a:spcPct val="106000"/>
              </a:lnSpc>
              <a:spcBef>
                <a:spcPts val="200"/>
              </a:spcBef>
              <a:spcAft>
                <a:spcPts val="0"/>
              </a:spcAft>
              <a:defRPr sz="1000" kern="1200">
                <a:solidFill>
                  <a:schemeClr val="bg2"/>
                </a:solidFill>
                <a:latin typeface="+mn-lt"/>
                <a:ea typeface="ＭＳ Ｐゴシック" pitchFamily="-109" charset="-128"/>
              </a:defRPr>
            </a:lvl2pPr>
            <a:lvl3pPr marL="9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3pPr>
            <a:lvl4pPr marL="18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4pPr>
            <a:lvl5pPr marL="0" indent="0" algn="l" rtl="0" eaLnBrk="1" fontAlgn="base" hangingPunct="1">
              <a:lnSpc>
                <a:spcPct val="106000"/>
              </a:lnSpc>
              <a:spcBef>
                <a:spcPts val="1200"/>
              </a:spcBef>
              <a:spcAft>
                <a:spcPts val="0"/>
              </a:spcAft>
              <a:buFont typeface="Arial" panose="020B0604020202020204" pitchFamily="34" charset="0"/>
              <a:buNone/>
              <a:defRPr sz="12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r>
              <a:rPr lang="en-US" dirty="0" err="1"/>
              <a:t>Inflazione</a:t>
            </a:r>
            <a:r>
              <a:rPr lang="en-US" dirty="0"/>
              <a:t>: </a:t>
            </a:r>
            <a:r>
              <a:rPr lang="it-IT" dirty="0"/>
              <a:t>I prezzi dell’energia spingono al rialzo il tasso d’inflazione della Germania</a:t>
            </a:r>
          </a:p>
          <a:p>
            <a:endParaRPr lang="de-DE" dirty="0">
              <a:solidFill>
                <a:srgbClr val="FF0000"/>
              </a:solidFill>
            </a:endParaRPr>
          </a:p>
        </p:txBody>
      </p:sp>
      <p:sp>
        <p:nvSpPr>
          <p:cNvPr id="124" name="Textplatzhalter 9">
            <a:extLst>
              <a:ext uri="{FF2B5EF4-FFF2-40B4-BE49-F238E27FC236}">
                <a16:creationId xmlns:a16="http://schemas.microsoft.com/office/drawing/2014/main" id="{FD548A9E-0E79-4752-916D-13537718E597}"/>
              </a:ext>
            </a:extLst>
          </p:cNvPr>
          <p:cNvSpPr txBox="1">
            <a:spLocks/>
          </p:cNvSpPr>
          <p:nvPr/>
        </p:nvSpPr>
        <p:spPr bwMode="gray">
          <a:xfrm>
            <a:off x="1433109" y="7415303"/>
            <a:ext cx="5544000" cy="866456"/>
          </a:xfrm>
          <a:prstGeom prst="rect">
            <a:avLst/>
          </a:prstGeom>
        </p:spPr>
        <p:txBody>
          <a:bodyPr vert="horz" wrap="square" lIns="0" tIns="0" rIns="0" bIns="0" rtlCol="0">
            <a:spAutoFit/>
          </a:bodyPr>
          <a:lstStyle>
            <a:lvl1pPr algn="l" rtl="0" eaLnBrk="1" fontAlgn="base" hangingPunct="1">
              <a:lnSpc>
                <a:spcPct val="106000"/>
              </a:lnSpc>
              <a:spcBef>
                <a:spcPts val="800"/>
              </a:spcBef>
              <a:spcAft>
                <a:spcPts val="0"/>
              </a:spcAft>
              <a:defRPr sz="1000" b="1" kern="1200">
                <a:solidFill>
                  <a:schemeClr val="accent2"/>
                </a:solidFill>
                <a:latin typeface="+mn-lt"/>
                <a:ea typeface="ＭＳ Ｐゴシック" pitchFamily="-109" charset="-128"/>
                <a:cs typeface="ＭＳ Ｐゴシック" pitchFamily="-109" charset="-128"/>
              </a:defRPr>
            </a:lvl1pPr>
            <a:lvl2pPr marL="126000" marR="0" indent="-126000" algn="l" defTabSz="914400" rtl="0" eaLnBrk="1" fontAlgn="base" latinLnBrk="0" hangingPunct="1">
              <a:lnSpc>
                <a:spcPct val="100000"/>
              </a:lnSpc>
              <a:spcBef>
                <a:spcPts val="600"/>
              </a:spcBef>
              <a:spcAft>
                <a:spcPts val="0"/>
              </a:spcAft>
              <a:buClrTx/>
              <a:buSzTx/>
              <a:buFont typeface="Arial" panose="020B0604020202020204" pitchFamily="34" charset="0"/>
              <a:buChar char="_"/>
              <a:tabLst/>
              <a:defRPr sz="900" kern="1200">
                <a:solidFill>
                  <a:schemeClr val="bg2"/>
                </a:solidFill>
                <a:latin typeface="DWS Sans Light" panose="02010404010101010104" pitchFamily="50" charset="0"/>
                <a:ea typeface="ＭＳ Ｐゴシック" pitchFamily="-109" charset="-128"/>
                <a:cs typeface="DWS Sans Light" panose="02010404010101010104" pitchFamily="50" charset="0"/>
              </a:defRPr>
            </a:lvl2pPr>
            <a:lvl3pPr marL="9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3pPr>
            <a:lvl4pPr marL="18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4pPr>
            <a:lvl5pPr marL="0" indent="0" algn="l" rtl="0" eaLnBrk="1" fontAlgn="base" hangingPunct="1">
              <a:lnSpc>
                <a:spcPct val="106000"/>
              </a:lnSpc>
              <a:spcBef>
                <a:spcPts val="1200"/>
              </a:spcBef>
              <a:spcAft>
                <a:spcPts val="0"/>
              </a:spcAft>
              <a:buFont typeface="Arial" panose="020B0604020202020204" pitchFamily="34" charset="0"/>
              <a:buNone/>
              <a:defRPr sz="12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pPr>
              <a:spcBef>
                <a:spcPts val="0"/>
              </a:spcBef>
            </a:pPr>
            <a:r>
              <a:rPr lang="it-IT" sz="900" b="0" dirty="0">
                <a:solidFill>
                  <a:schemeClr val="bg2"/>
                </a:solidFill>
                <a:latin typeface="DWS Sans Light" panose="02010404010101010104" pitchFamily="50" charset="0"/>
                <a:cs typeface="DWS Sans Light" panose="02010404010101010104" pitchFamily="50" charset="0"/>
              </a:rPr>
              <a:t>- In Germania, il tasso d’inflazione è aumentato inaspettatamente al 2,1% in gennaio (dicembre: 1,8%), contrariamente alle aspettative del mercato. Sebbene i prezzi dell’energia siano diminuiti dell’1,7% su base annua, sono aumentati su base mensile — principalmente a causa dell’aumento del prezzo della CO₂ da 55 a 65 euro per tonnellata. Anche i prezzi alimentari sono tornati a salire.</a:t>
            </a:r>
          </a:p>
          <a:p>
            <a:pPr>
              <a:spcBef>
                <a:spcPts val="0"/>
              </a:spcBef>
            </a:pPr>
            <a:r>
              <a:rPr lang="it-IT" sz="900" b="0" dirty="0">
                <a:solidFill>
                  <a:schemeClr val="bg2"/>
                </a:solidFill>
                <a:latin typeface="DWS Sans Light" panose="02010404010101010104" pitchFamily="50" charset="0"/>
                <a:cs typeface="DWS Sans Light" panose="02010404010101010104" pitchFamily="50" charset="0"/>
              </a:rPr>
              <a:t>- Nell’area euro, al contrario, l’inflazione si è attenuata. Grazie al calo dei costi energetici, il tasso d’inflazione è sceso all’1,7% in gennaio (dicembre: 2,0%).</a:t>
            </a:r>
          </a:p>
        </p:txBody>
      </p:sp>
      <p:sp>
        <p:nvSpPr>
          <p:cNvPr id="3" name="Textplatzhalter 9">
            <a:extLst>
              <a:ext uri="{FF2B5EF4-FFF2-40B4-BE49-F238E27FC236}">
                <a16:creationId xmlns:a16="http://schemas.microsoft.com/office/drawing/2014/main" id="{FA3A3E11-D977-ED69-1439-9A28F0B64263}"/>
              </a:ext>
            </a:extLst>
          </p:cNvPr>
          <p:cNvSpPr txBox="1">
            <a:spLocks/>
          </p:cNvSpPr>
          <p:nvPr/>
        </p:nvSpPr>
        <p:spPr bwMode="gray">
          <a:xfrm>
            <a:off x="1359019" y="9735827"/>
            <a:ext cx="5549420" cy="315471"/>
          </a:xfrm>
          <a:prstGeom prst="rect">
            <a:avLst/>
          </a:prstGeom>
        </p:spPr>
        <p:txBody>
          <a:bodyPr vert="horz" wrap="square" lIns="0" tIns="0" rIns="0" bIns="0" rtlCol="0">
            <a:spAutoFit/>
          </a:bodyPr>
          <a:lstStyle>
            <a:lvl1pPr algn="l" rtl="0" eaLnBrk="1" fontAlgn="base" hangingPunct="1">
              <a:lnSpc>
                <a:spcPct val="106000"/>
              </a:lnSpc>
              <a:spcBef>
                <a:spcPts val="800"/>
              </a:spcBef>
              <a:spcAft>
                <a:spcPts val="0"/>
              </a:spcAft>
              <a:defRPr sz="1000" b="1" kern="1200">
                <a:solidFill>
                  <a:schemeClr val="accent2"/>
                </a:solidFill>
                <a:latin typeface="+mn-lt"/>
                <a:ea typeface="ＭＳ Ｐゴシック" pitchFamily="-109" charset="-128"/>
                <a:cs typeface="ＭＳ Ｐゴシック" pitchFamily="-109" charset="-128"/>
              </a:defRPr>
            </a:lvl1pPr>
            <a:lvl2pPr marL="126000" marR="0" indent="-126000" algn="l" defTabSz="914400" rtl="0" eaLnBrk="1" fontAlgn="base" latinLnBrk="0" hangingPunct="1">
              <a:lnSpc>
                <a:spcPct val="100000"/>
              </a:lnSpc>
              <a:spcBef>
                <a:spcPts val="600"/>
              </a:spcBef>
              <a:spcAft>
                <a:spcPts val="0"/>
              </a:spcAft>
              <a:buClrTx/>
              <a:buSzTx/>
              <a:buFont typeface="Arial" panose="020B0604020202020204" pitchFamily="34" charset="0"/>
              <a:buChar char="_"/>
              <a:tabLst/>
              <a:defRPr sz="900" kern="1200">
                <a:solidFill>
                  <a:schemeClr val="bg2"/>
                </a:solidFill>
                <a:latin typeface="DWS Sans Light" panose="02010404010101010104" pitchFamily="50" charset="0"/>
                <a:ea typeface="ＭＳ Ｐゴシック" pitchFamily="-109" charset="-128"/>
                <a:cs typeface="DWS Sans Light" panose="02010404010101010104" pitchFamily="50" charset="0"/>
              </a:defRPr>
            </a:lvl2pPr>
            <a:lvl3pPr marL="9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3pPr>
            <a:lvl4pPr marL="18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4pPr>
            <a:lvl5pPr marL="0" indent="0" algn="l" rtl="0" eaLnBrk="1" fontAlgn="base" hangingPunct="1">
              <a:lnSpc>
                <a:spcPct val="106000"/>
              </a:lnSpc>
              <a:spcBef>
                <a:spcPts val="1200"/>
              </a:spcBef>
              <a:spcAft>
                <a:spcPts val="0"/>
              </a:spcAft>
              <a:buFont typeface="Arial" panose="020B0604020202020204" pitchFamily="34" charset="0"/>
              <a:buNone/>
              <a:defRPr sz="12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pPr lvl="1">
              <a:spcBef>
                <a:spcPts val="300"/>
              </a:spcBef>
              <a:buClr>
                <a:schemeClr val="bg2"/>
              </a:buClr>
              <a:buFont typeface="DWS Sans" panose="02010504010101010104" pitchFamily="50" charset="0"/>
              <a:buChar char="—"/>
            </a:pPr>
            <a:endParaRPr lang="de-DE" dirty="0"/>
          </a:p>
          <a:p>
            <a:pPr marL="0" lvl="1" indent="0">
              <a:spcBef>
                <a:spcPts val="300"/>
              </a:spcBef>
              <a:buClr>
                <a:schemeClr val="bg2"/>
              </a:buClr>
              <a:buNone/>
            </a:pPr>
            <a:endParaRPr lang="de-DE" dirty="0"/>
          </a:p>
        </p:txBody>
      </p:sp>
      <p:sp>
        <p:nvSpPr>
          <p:cNvPr id="45" name="Rechteck 44">
            <a:extLst>
              <a:ext uri="{FF2B5EF4-FFF2-40B4-BE49-F238E27FC236}">
                <a16:creationId xmlns:a16="http://schemas.microsoft.com/office/drawing/2014/main" id="{FF0FC357-97F7-4E19-D7ED-432CC06F8460}"/>
              </a:ext>
            </a:extLst>
          </p:cNvPr>
          <p:cNvSpPr/>
          <p:nvPr/>
        </p:nvSpPr>
        <p:spPr>
          <a:xfrm>
            <a:off x="5940199" y="1638916"/>
            <a:ext cx="1008289" cy="215444"/>
          </a:xfrm>
          <a:prstGeom prst="rect">
            <a:avLst/>
          </a:prstGeom>
        </p:spPr>
        <p:txBody>
          <a:bodyPr wrap="none" lIns="0" rIns="0">
            <a:spAutoFit/>
          </a:bodyPr>
          <a:lstStyle/>
          <a:p>
            <a:pPr algn="r"/>
            <a:r>
              <a:rPr lang="de-DE" sz="800" dirty="0" err="1">
                <a:solidFill>
                  <a:srgbClr val="6D8386"/>
                </a:solidFill>
                <a:latin typeface="DWS Sans Light" panose="02010404010101010104" pitchFamily="50" charset="0"/>
                <a:cs typeface="DWS Sans Light" panose="02010404010101010104" pitchFamily="50" charset="0"/>
              </a:rPr>
              <a:t>Materiali</a:t>
            </a:r>
            <a:r>
              <a:rPr lang="de-DE" sz="800" dirty="0">
                <a:solidFill>
                  <a:srgbClr val="6D8386"/>
                </a:solidFill>
                <a:latin typeface="DWS Sans Light" panose="02010404010101010104" pitchFamily="50" charset="0"/>
                <a:cs typeface="DWS Sans Light" panose="02010404010101010104" pitchFamily="50" charset="0"/>
              </a:rPr>
              <a:t> di </a:t>
            </a:r>
            <a:r>
              <a:rPr lang="de-DE" sz="800" dirty="0" err="1">
                <a:solidFill>
                  <a:srgbClr val="6D8386"/>
                </a:solidFill>
                <a:latin typeface="DWS Sans Light" panose="02010404010101010104" pitchFamily="50" charset="0"/>
                <a:cs typeface="DWS Sans Light" panose="02010404010101010104" pitchFamily="50" charset="0"/>
              </a:rPr>
              <a:t>marketing</a:t>
            </a:r>
            <a:r>
              <a:rPr lang="de-DE" sz="800" dirty="0">
                <a:solidFill>
                  <a:srgbClr val="6D8386"/>
                </a:solidFill>
                <a:latin typeface="DWS Sans Light" panose="02010404010101010104" pitchFamily="50" charset="0"/>
                <a:cs typeface="DWS Sans Light" panose="02010404010101010104" pitchFamily="50" charset="0"/>
              </a:rPr>
              <a:t> </a:t>
            </a:r>
            <a:endParaRPr lang="de-DE" dirty="0">
              <a:latin typeface="DWS Sans Light" panose="02010404010101010104" pitchFamily="50" charset="0"/>
              <a:cs typeface="DWS Sans Light" panose="02010404010101010104" pitchFamily="50" charset="0"/>
            </a:endParaRPr>
          </a:p>
        </p:txBody>
      </p:sp>
      <p:cxnSp>
        <p:nvCxnSpPr>
          <p:cNvPr id="7" name="Straight Connector 43">
            <a:extLst>
              <a:ext uri="{FF2B5EF4-FFF2-40B4-BE49-F238E27FC236}">
                <a16:creationId xmlns:a16="http://schemas.microsoft.com/office/drawing/2014/main" id="{7CDDC555-F419-BE4C-B610-24A3B46A033A}"/>
              </a:ext>
            </a:extLst>
          </p:cNvPr>
          <p:cNvCxnSpPr>
            <a:cxnSpLocks/>
          </p:cNvCxnSpPr>
          <p:nvPr/>
        </p:nvCxnSpPr>
        <p:spPr bwMode="auto">
          <a:xfrm>
            <a:off x="612278" y="10245208"/>
            <a:ext cx="6336000" cy="0"/>
          </a:xfrm>
          <a:prstGeom prst="line">
            <a:avLst/>
          </a:prstGeom>
          <a:ln w="9525">
            <a:solidFill>
              <a:srgbClr val="A7B5B7"/>
            </a:solidFill>
          </a:ln>
        </p:spPr>
        <p:style>
          <a:lnRef idx="1">
            <a:schemeClr val="accent1"/>
          </a:lnRef>
          <a:fillRef idx="0">
            <a:schemeClr val="accent1"/>
          </a:fillRef>
          <a:effectRef idx="0">
            <a:schemeClr val="accent1"/>
          </a:effectRef>
          <a:fontRef idx="minor">
            <a:schemeClr val="tx1"/>
          </a:fontRef>
        </p:style>
      </p:cxnSp>
      <p:sp>
        <p:nvSpPr>
          <p:cNvPr id="11" name="Textplatzhalter 68">
            <a:extLst>
              <a:ext uri="{FF2B5EF4-FFF2-40B4-BE49-F238E27FC236}">
                <a16:creationId xmlns:a16="http://schemas.microsoft.com/office/drawing/2014/main" id="{CF65C453-60B7-FF41-ED59-5188C7018ED4}"/>
              </a:ext>
            </a:extLst>
          </p:cNvPr>
          <p:cNvSpPr txBox="1">
            <a:spLocks/>
          </p:cNvSpPr>
          <p:nvPr/>
        </p:nvSpPr>
        <p:spPr bwMode="gray">
          <a:xfrm>
            <a:off x="619030" y="9561995"/>
            <a:ext cx="6340064" cy="190501"/>
          </a:xfrm>
          <a:prstGeom prst="rect">
            <a:avLst/>
          </a:prstGeom>
        </p:spPr>
        <p:txBody>
          <a:bodyPr vert="horz" lIns="0" tIns="0" rIns="0" bIns="0" rtlCol="0">
            <a:noAutofit/>
          </a:bodyPr>
          <a:lstStyle>
            <a:lvl1pPr algn="l" rtl="0" eaLnBrk="1" fontAlgn="base" hangingPunct="1">
              <a:lnSpc>
                <a:spcPct val="106000"/>
              </a:lnSpc>
              <a:spcBef>
                <a:spcPts val="800"/>
              </a:spcBef>
              <a:spcAft>
                <a:spcPts val="0"/>
              </a:spcAft>
              <a:defRPr sz="1000" b="1" kern="1200">
                <a:solidFill>
                  <a:schemeClr val="accent2"/>
                </a:solidFill>
                <a:latin typeface="+mn-lt"/>
                <a:ea typeface="ＭＳ Ｐゴシック" pitchFamily="-109" charset="-128"/>
                <a:cs typeface="ＭＳ Ｐゴシック" pitchFamily="-109" charset="-128"/>
              </a:defRPr>
            </a:lvl1pPr>
            <a:lvl2pPr algn="l" rtl="0" eaLnBrk="1" fontAlgn="base" hangingPunct="1">
              <a:lnSpc>
                <a:spcPct val="106000"/>
              </a:lnSpc>
              <a:spcBef>
                <a:spcPts val="200"/>
              </a:spcBef>
              <a:spcAft>
                <a:spcPts val="0"/>
              </a:spcAft>
              <a:defRPr sz="1000" kern="1200">
                <a:solidFill>
                  <a:schemeClr val="bg2"/>
                </a:solidFill>
                <a:latin typeface="+mn-lt"/>
                <a:ea typeface="ＭＳ Ｐゴシック" pitchFamily="-109" charset="-128"/>
              </a:defRPr>
            </a:lvl2pPr>
            <a:lvl3pPr marL="9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3pPr>
            <a:lvl4pPr marL="18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4pPr>
            <a:lvl5pPr marL="0" indent="0" algn="l" rtl="0" eaLnBrk="1" fontAlgn="base" hangingPunct="1">
              <a:lnSpc>
                <a:spcPct val="106000"/>
              </a:lnSpc>
              <a:spcBef>
                <a:spcPts val="1200"/>
              </a:spcBef>
              <a:spcAft>
                <a:spcPts val="0"/>
              </a:spcAft>
              <a:buFont typeface="Arial" panose="020B0604020202020204" pitchFamily="34" charset="0"/>
              <a:buNone/>
              <a:defRPr sz="12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pPr defTabSz="914400"/>
            <a:endParaRPr lang="de-DE" dirty="0"/>
          </a:p>
        </p:txBody>
      </p:sp>
      <p:sp>
        <p:nvSpPr>
          <p:cNvPr id="13" name="Textplatzhalter 4">
            <a:extLst>
              <a:ext uri="{FF2B5EF4-FFF2-40B4-BE49-F238E27FC236}">
                <a16:creationId xmlns:a16="http://schemas.microsoft.com/office/drawing/2014/main" id="{9939A45A-B9BB-F115-0689-55B1346B774B}"/>
              </a:ext>
            </a:extLst>
          </p:cNvPr>
          <p:cNvSpPr txBox="1">
            <a:spLocks/>
          </p:cNvSpPr>
          <p:nvPr/>
        </p:nvSpPr>
        <p:spPr bwMode="gray">
          <a:xfrm>
            <a:off x="1457327" y="9358032"/>
            <a:ext cx="5508794" cy="155575"/>
          </a:xfrm>
          <a:prstGeom prst="rect">
            <a:avLst/>
          </a:prstGeom>
        </p:spPr>
        <p:txBody>
          <a:bodyPr vert="horz" lIns="0" tIns="0" rIns="0" bIns="0" rtlCol="0">
            <a:noAutofit/>
          </a:bodyPr>
          <a:lstStyle>
            <a:lvl1pPr algn="l" rtl="0" eaLnBrk="1" fontAlgn="base" hangingPunct="1">
              <a:lnSpc>
                <a:spcPct val="106000"/>
              </a:lnSpc>
              <a:spcBef>
                <a:spcPts val="800"/>
              </a:spcBef>
              <a:spcAft>
                <a:spcPts val="0"/>
              </a:spcAft>
              <a:defRPr sz="1000" b="0" kern="1200">
                <a:solidFill>
                  <a:schemeClr val="accent2"/>
                </a:solidFill>
                <a:latin typeface="DWS Sans Light" panose="02010404010101010104" pitchFamily="50" charset="0"/>
                <a:ea typeface="ＭＳ Ｐゴシック" pitchFamily="-109" charset="-128"/>
                <a:cs typeface="DWS Sans Light" panose="02010404010101010104" pitchFamily="50" charset="0"/>
              </a:defRPr>
            </a:lvl1pPr>
            <a:lvl2pPr algn="l" rtl="0" eaLnBrk="1" fontAlgn="base" hangingPunct="1">
              <a:lnSpc>
                <a:spcPct val="106000"/>
              </a:lnSpc>
              <a:spcBef>
                <a:spcPts val="200"/>
              </a:spcBef>
              <a:spcAft>
                <a:spcPts val="0"/>
              </a:spcAft>
              <a:defRPr sz="1000" kern="1200">
                <a:solidFill>
                  <a:schemeClr val="bg2"/>
                </a:solidFill>
                <a:latin typeface="+mn-lt"/>
                <a:ea typeface="ＭＳ Ｐゴシック" pitchFamily="-109" charset="-128"/>
              </a:defRPr>
            </a:lvl2pPr>
            <a:lvl3pPr marL="9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3pPr>
            <a:lvl4pPr marL="18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4pPr>
            <a:lvl5pPr marL="0" indent="0" algn="l" rtl="0" eaLnBrk="1" fontAlgn="base" hangingPunct="1">
              <a:lnSpc>
                <a:spcPct val="106000"/>
              </a:lnSpc>
              <a:spcBef>
                <a:spcPts val="1200"/>
              </a:spcBef>
              <a:spcAft>
                <a:spcPts val="0"/>
              </a:spcAft>
              <a:buFont typeface="Arial" panose="020B0604020202020204" pitchFamily="34" charset="0"/>
              <a:buNone/>
              <a:defRPr sz="12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r>
              <a:rPr lang="en-US" dirty="0"/>
              <a:t>Rischi: </a:t>
            </a:r>
            <a:r>
              <a:rPr lang="it-IT" dirty="0"/>
              <a:t>Incertezza geopolitica e instabilità politica</a:t>
            </a:r>
          </a:p>
          <a:p>
            <a:endParaRPr lang="de-DE" dirty="0"/>
          </a:p>
        </p:txBody>
      </p:sp>
      <p:sp>
        <p:nvSpPr>
          <p:cNvPr id="14" name="Textplatzhalter 9">
            <a:extLst>
              <a:ext uri="{FF2B5EF4-FFF2-40B4-BE49-F238E27FC236}">
                <a16:creationId xmlns:a16="http://schemas.microsoft.com/office/drawing/2014/main" id="{C583A4CE-C5D8-EDA1-FB08-596A4658A34C}"/>
              </a:ext>
            </a:extLst>
          </p:cNvPr>
          <p:cNvSpPr txBox="1">
            <a:spLocks/>
          </p:cNvSpPr>
          <p:nvPr/>
        </p:nvSpPr>
        <p:spPr bwMode="gray">
          <a:xfrm>
            <a:off x="1359019" y="10034940"/>
            <a:ext cx="5549420" cy="315471"/>
          </a:xfrm>
          <a:prstGeom prst="rect">
            <a:avLst/>
          </a:prstGeom>
        </p:spPr>
        <p:txBody>
          <a:bodyPr vert="horz" wrap="square" lIns="0" tIns="0" rIns="0" bIns="0" rtlCol="0">
            <a:spAutoFit/>
          </a:bodyPr>
          <a:lstStyle>
            <a:lvl1pPr algn="l" rtl="0" eaLnBrk="1" fontAlgn="base" hangingPunct="1">
              <a:lnSpc>
                <a:spcPct val="106000"/>
              </a:lnSpc>
              <a:spcBef>
                <a:spcPts val="800"/>
              </a:spcBef>
              <a:spcAft>
                <a:spcPts val="0"/>
              </a:spcAft>
              <a:defRPr sz="1000" b="1" kern="1200">
                <a:solidFill>
                  <a:schemeClr val="accent2"/>
                </a:solidFill>
                <a:latin typeface="+mn-lt"/>
                <a:ea typeface="ＭＳ Ｐゴシック" pitchFamily="-109" charset="-128"/>
                <a:cs typeface="ＭＳ Ｐゴシック" pitchFamily="-109" charset="-128"/>
              </a:defRPr>
            </a:lvl1pPr>
            <a:lvl2pPr marL="126000" marR="0" indent="-126000" algn="l" defTabSz="914400" rtl="0" eaLnBrk="1" fontAlgn="base" latinLnBrk="0" hangingPunct="1">
              <a:lnSpc>
                <a:spcPct val="100000"/>
              </a:lnSpc>
              <a:spcBef>
                <a:spcPts val="600"/>
              </a:spcBef>
              <a:spcAft>
                <a:spcPts val="0"/>
              </a:spcAft>
              <a:buClrTx/>
              <a:buSzTx/>
              <a:buFont typeface="Arial" panose="020B0604020202020204" pitchFamily="34" charset="0"/>
              <a:buChar char="_"/>
              <a:tabLst/>
              <a:defRPr sz="900" kern="1200">
                <a:solidFill>
                  <a:schemeClr val="bg2"/>
                </a:solidFill>
                <a:latin typeface="DWS Sans Light" panose="02010404010101010104" pitchFamily="50" charset="0"/>
                <a:ea typeface="ＭＳ Ｐゴシック" pitchFamily="-109" charset="-128"/>
                <a:cs typeface="DWS Sans Light" panose="02010404010101010104" pitchFamily="50" charset="0"/>
              </a:defRPr>
            </a:lvl2pPr>
            <a:lvl3pPr marL="9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3pPr>
            <a:lvl4pPr marL="18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4pPr>
            <a:lvl5pPr marL="0" indent="0" algn="l" rtl="0" eaLnBrk="1" fontAlgn="base" hangingPunct="1">
              <a:lnSpc>
                <a:spcPct val="106000"/>
              </a:lnSpc>
              <a:spcBef>
                <a:spcPts val="1200"/>
              </a:spcBef>
              <a:spcAft>
                <a:spcPts val="0"/>
              </a:spcAft>
              <a:buFont typeface="Arial" panose="020B0604020202020204" pitchFamily="34" charset="0"/>
              <a:buNone/>
              <a:defRPr sz="12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pPr lvl="1">
              <a:spcBef>
                <a:spcPts val="300"/>
              </a:spcBef>
              <a:buClr>
                <a:schemeClr val="bg2"/>
              </a:buClr>
              <a:buFont typeface="DWS Sans" panose="02010504010101010104" pitchFamily="50" charset="0"/>
              <a:buChar char="—"/>
            </a:pPr>
            <a:endParaRPr lang="de-DE" dirty="0"/>
          </a:p>
          <a:p>
            <a:pPr marL="0" lvl="1" indent="0">
              <a:spcBef>
                <a:spcPts val="300"/>
              </a:spcBef>
              <a:buClr>
                <a:schemeClr val="bg2"/>
              </a:buClr>
              <a:buNone/>
            </a:pPr>
            <a:endParaRPr lang="de-DE" dirty="0"/>
          </a:p>
        </p:txBody>
      </p:sp>
      <p:sp>
        <p:nvSpPr>
          <p:cNvPr id="15" name="Textplatzhalter 9">
            <a:extLst>
              <a:ext uri="{FF2B5EF4-FFF2-40B4-BE49-F238E27FC236}">
                <a16:creationId xmlns:a16="http://schemas.microsoft.com/office/drawing/2014/main" id="{D5F5A1D0-44D1-084E-6F96-3782CFBA171A}"/>
              </a:ext>
            </a:extLst>
          </p:cNvPr>
          <p:cNvSpPr txBox="1">
            <a:spLocks/>
          </p:cNvSpPr>
          <p:nvPr/>
        </p:nvSpPr>
        <p:spPr bwMode="gray">
          <a:xfrm>
            <a:off x="1433109" y="9490587"/>
            <a:ext cx="5544000" cy="723724"/>
          </a:xfrm>
          <a:prstGeom prst="rect">
            <a:avLst/>
          </a:prstGeom>
        </p:spPr>
        <p:txBody>
          <a:bodyPr vert="horz" wrap="square" lIns="0" tIns="0" rIns="0" bIns="0" rtlCol="0">
            <a:spAutoFit/>
          </a:bodyPr>
          <a:lstStyle>
            <a:lvl1pPr algn="l" rtl="0" eaLnBrk="1" fontAlgn="base" hangingPunct="1">
              <a:lnSpc>
                <a:spcPct val="106000"/>
              </a:lnSpc>
              <a:spcBef>
                <a:spcPts val="800"/>
              </a:spcBef>
              <a:spcAft>
                <a:spcPts val="0"/>
              </a:spcAft>
              <a:defRPr sz="1000" b="1" kern="1200">
                <a:solidFill>
                  <a:schemeClr val="accent2"/>
                </a:solidFill>
                <a:latin typeface="+mn-lt"/>
                <a:ea typeface="ＭＳ Ｐゴシック" pitchFamily="-109" charset="-128"/>
                <a:cs typeface="ＭＳ Ｐゴシック" pitchFamily="-109" charset="-128"/>
              </a:defRPr>
            </a:lvl1pPr>
            <a:lvl2pPr marL="126000" marR="0" indent="-126000" algn="l" defTabSz="914400" rtl="0" eaLnBrk="1" fontAlgn="base" latinLnBrk="0" hangingPunct="1">
              <a:lnSpc>
                <a:spcPct val="100000"/>
              </a:lnSpc>
              <a:spcBef>
                <a:spcPts val="600"/>
              </a:spcBef>
              <a:spcAft>
                <a:spcPts val="0"/>
              </a:spcAft>
              <a:buClrTx/>
              <a:buSzTx/>
              <a:buFont typeface="Arial" panose="020B0604020202020204" pitchFamily="34" charset="0"/>
              <a:buChar char="_"/>
              <a:tabLst/>
              <a:defRPr sz="900" kern="1200">
                <a:solidFill>
                  <a:schemeClr val="bg2"/>
                </a:solidFill>
                <a:latin typeface="DWS Sans Light" panose="02010404010101010104" pitchFamily="50" charset="0"/>
                <a:ea typeface="ＭＳ Ｐゴシック" pitchFamily="-109" charset="-128"/>
                <a:cs typeface="DWS Sans Light" panose="02010404010101010104" pitchFamily="50" charset="0"/>
              </a:defRPr>
            </a:lvl2pPr>
            <a:lvl3pPr marL="9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3pPr>
            <a:lvl4pPr marL="18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4pPr>
            <a:lvl5pPr marL="0" indent="0" algn="l" rtl="0" eaLnBrk="1" fontAlgn="base" hangingPunct="1">
              <a:lnSpc>
                <a:spcPct val="106000"/>
              </a:lnSpc>
              <a:spcBef>
                <a:spcPts val="1200"/>
              </a:spcBef>
              <a:spcAft>
                <a:spcPts val="0"/>
              </a:spcAft>
              <a:buFont typeface="Arial" panose="020B0604020202020204" pitchFamily="34" charset="0"/>
              <a:buNone/>
              <a:defRPr sz="12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r>
              <a:rPr lang="it-IT" sz="900" b="0" dirty="0">
                <a:solidFill>
                  <a:schemeClr val="bg2"/>
                </a:solidFill>
                <a:latin typeface="DWS Sans Light" panose="02010404010101010104" pitchFamily="50" charset="0"/>
                <a:cs typeface="DWS Sans Light" panose="02010404010101010104" pitchFamily="50" charset="0"/>
              </a:rPr>
              <a:t>- In Europa, osserviamo rischi derivanti dall’instabilità politica, dal rinnovato aumento delle tensioni commerciali e dal potenziale impatto delle incertezze geopolitiche.</a:t>
            </a:r>
            <a:br>
              <a:rPr lang="it-IT" sz="900" b="0" dirty="0">
                <a:solidFill>
                  <a:schemeClr val="bg2"/>
                </a:solidFill>
                <a:latin typeface="DWS Sans Light" panose="02010404010101010104" pitchFamily="50" charset="0"/>
                <a:cs typeface="DWS Sans Light" panose="02010404010101010104" pitchFamily="50" charset="0"/>
              </a:rPr>
            </a:br>
            <a:r>
              <a:rPr lang="it-IT" sz="900" b="0" dirty="0">
                <a:solidFill>
                  <a:schemeClr val="bg2"/>
                </a:solidFill>
                <a:latin typeface="DWS Sans Light" panose="02010404010101010104" pitchFamily="50" charset="0"/>
                <a:cs typeface="DWS Sans Light" panose="02010404010101010104" pitchFamily="50" charset="0"/>
              </a:rPr>
              <a:t>- Le elevate valutazioni e la significativa concentrazione del mercato nei titoli legati all’intelligenza artificiale e, più in generale, alla tecnologia stanno rendendo il mercato azionario statunitense sempre più vulnerabile a correzioni.</a:t>
            </a:r>
          </a:p>
        </p:txBody>
      </p:sp>
      <p:sp>
        <p:nvSpPr>
          <p:cNvPr id="16" name="Freeform 163">
            <a:extLst>
              <a:ext uri="{FF2B5EF4-FFF2-40B4-BE49-F238E27FC236}">
                <a16:creationId xmlns:a16="http://schemas.microsoft.com/office/drawing/2014/main" id="{2B04EC79-8A57-461C-37CA-C857CEBED6E8}"/>
              </a:ext>
            </a:extLst>
          </p:cNvPr>
          <p:cNvSpPr>
            <a:spLocks noChangeAspect="1" noEditPoints="1"/>
          </p:cNvSpPr>
          <p:nvPr/>
        </p:nvSpPr>
        <p:spPr bwMode="auto">
          <a:xfrm>
            <a:off x="659245" y="9468679"/>
            <a:ext cx="589265" cy="574373"/>
          </a:xfrm>
          <a:custGeom>
            <a:avLst/>
            <a:gdLst>
              <a:gd name="T0" fmla="*/ 4233 w 8864"/>
              <a:gd name="T1" fmla="*/ 7787 h 8640"/>
              <a:gd name="T2" fmla="*/ 2764 w 8864"/>
              <a:gd name="T3" fmla="*/ 5356 h 8640"/>
              <a:gd name="T4" fmla="*/ 4588 w 8864"/>
              <a:gd name="T5" fmla="*/ 3532 h 8640"/>
              <a:gd name="T6" fmla="*/ 6100 w 8864"/>
              <a:gd name="T7" fmla="*/ 4659 h 8640"/>
              <a:gd name="T8" fmla="*/ 7696 w 8864"/>
              <a:gd name="T9" fmla="*/ 5879 h 8640"/>
              <a:gd name="T10" fmla="*/ 7688 w 8864"/>
              <a:gd name="T11" fmla="*/ 5880 h 8640"/>
              <a:gd name="T12" fmla="*/ 7488 w 8864"/>
              <a:gd name="T13" fmla="*/ 5491 h 8640"/>
              <a:gd name="T14" fmla="*/ 7182 w 8864"/>
              <a:gd name="T15" fmla="*/ 4909 h 8640"/>
              <a:gd name="T16" fmla="*/ 4702 w 8864"/>
              <a:gd name="T17" fmla="*/ 274 h 8640"/>
              <a:gd name="T18" fmla="*/ 4686 w 8864"/>
              <a:gd name="T19" fmla="*/ 241 h 8640"/>
              <a:gd name="T20" fmla="*/ 4653 w 8864"/>
              <a:gd name="T21" fmla="*/ 180 h 8640"/>
              <a:gd name="T22" fmla="*/ 4620 w 8864"/>
              <a:gd name="T23" fmla="*/ 130 h 8640"/>
              <a:gd name="T24" fmla="*/ 4588 w 8864"/>
              <a:gd name="T25" fmla="*/ 86 h 8640"/>
              <a:gd name="T26" fmla="*/ 4555 w 8864"/>
              <a:gd name="T27" fmla="*/ 52 h 8640"/>
              <a:gd name="T28" fmla="*/ 4522 w 8864"/>
              <a:gd name="T29" fmla="*/ 27 h 8640"/>
              <a:gd name="T30" fmla="*/ 4491 w 8864"/>
              <a:gd name="T31" fmla="*/ 9 h 8640"/>
              <a:gd name="T32" fmla="*/ 4458 w 8864"/>
              <a:gd name="T33" fmla="*/ 0 h 8640"/>
              <a:gd name="T34" fmla="*/ 4425 w 8864"/>
              <a:gd name="T35" fmla="*/ 0 h 8640"/>
              <a:gd name="T36" fmla="*/ 4394 w 8864"/>
              <a:gd name="T37" fmla="*/ 9 h 8640"/>
              <a:gd name="T38" fmla="*/ 4361 w 8864"/>
              <a:gd name="T39" fmla="*/ 27 h 8640"/>
              <a:gd name="T40" fmla="*/ 4328 w 8864"/>
              <a:gd name="T41" fmla="*/ 52 h 8640"/>
              <a:gd name="T42" fmla="*/ 4295 w 8864"/>
              <a:gd name="T43" fmla="*/ 86 h 8640"/>
              <a:gd name="T44" fmla="*/ 4262 w 8864"/>
              <a:gd name="T45" fmla="*/ 130 h 8640"/>
              <a:gd name="T46" fmla="*/ 4230 w 8864"/>
              <a:gd name="T47" fmla="*/ 180 h 8640"/>
              <a:gd name="T48" fmla="*/ 4197 w 8864"/>
              <a:gd name="T49" fmla="*/ 241 h 8640"/>
              <a:gd name="T50" fmla="*/ 1809 w 8864"/>
              <a:gd name="T51" fmla="*/ 4715 h 8640"/>
              <a:gd name="T52" fmla="*/ 1095 w 8864"/>
              <a:gd name="T53" fmla="*/ 6038 h 8640"/>
              <a:gd name="T54" fmla="*/ 88 w 8864"/>
              <a:gd name="T55" fmla="*/ 7936 h 8640"/>
              <a:gd name="T56" fmla="*/ 72 w 8864"/>
              <a:gd name="T57" fmla="*/ 7970 h 8640"/>
              <a:gd name="T58" fmla="*/ 45 w 8864"/>
              <a:gd name="T59" fmla="*/ 8036 h 8640"/>
              <a:gd name="T60" fmla="*/ 25 w 8864"/>
              <a:gd name="T61" fmla="*/ 8097 h 8640"/>
              <a:gd name="T62" fmla="*/ 9 w 8864"/>
              <a:gd name="T63" fmla="*/ 8157 h 8640"/>
              <a:gd name="T64" fmla="*/ 2 w 8864"/>
              <a:gd name="T65" fmla="*/ 8213 h 8640"/>
              <a:gd name="T66" fmla="*/ 0 w 8864"/>
              <a:gd name="T67" fmla="*/ 8266 h 8640"/>
              <a:gd name="T68" fmla="*/ 5 w 8864"/>
              <a:gd name="T69" fmla="*/ 8316 h 8640"/>
              <a:gd name="T70" fmla="*/ 14 w 8864"/>
              <a:gd name="T71" fmla="*/ 8363 h 8640"/>
              <a:gd name="T72" fmla="*/ 31 w 8864"/>
              <a:gd name="T73" fmla="*/ 8407 h 8640"/>
              <a:gd name="T74" fmla="*/ 55 w 8864"/>
              <a:gd name="T75" fmla="*/ 8448 h 8640"/>
              <a:gd name="T76" fmla="*/ 84 w 8864"/>
              <a:gd name="T77" fmla="*/ 8485 h 8640"/>
              <a:gd name="T78" fmla="*/ 120 w 8864"/>
              <a:gd name="T79" fmla="*/ 8520 h 8640"/>
              <a:gd name="T80" fmla="*/ 161 w 8864"/>
              <a:gd name="T81" fmla="*/ 8552 h 8640"/>
              <a:gd name="T82" fmla="*/ 210 w 8864"/>
              <a:gd name="T83" fmla="*/ 8581 h 8640"/>
              <a:gd name="T84" fmla="*/ 264 w 8864"/>
              <a:gd name="T85" fmla="*/ 8607 h 8640"/>
              <a:gd name="T86" fmla="*/ 325 w 8864"/>
              <a:gd name="T87" fmla="*/ 8631 h 8640"/>
              <a:gd name="T88" fmla="*/ 8518 w 8864"/>
              <a:gd name="T89" fmla="*/ 8640 h 8640"/>
              <a:gd name="T90" fmla="*/ 8553 w 8864"/>
              <a:gd name="T91" fmla="*/ 8629 h 8640"/>
              <a:gd name="T92" fmla="*/ 8619 w 8864"/>
              <a:gd name="T93" fmla="*/ 8606 h 8640"/>
              <a:gd name="T94" fmla="*/ 8675 w 8864"/>
              <a:gd name="T95" fmla="*/ 8576 h 8640"/>
              <a:gd name="T96" fmla="*/ 8725 w 8864"/>
              <a:gd name="T97" fmla="*/ 8543 h 8640"/>
              <a:gd name="T98" fmla="*/ 8767 w 8864"/>
              <a:gd name="T99" fmla="*/ 8504 h 8640"/>
              <a:gd name="T100" fmla="*/ 8801 w 8864"/>
              <a:gd name="T101" fmla="*/ 8462 h 8640"/>
              <a:gd name="T102" fmla="*/ 8830 w 8864"/>
              <a:gd name="T103" fmla="*/ 8416 h 8640"/>
              <a:gd name="T104" fmla="*/ 8848 w 8864"/>
              <a:gd name="T105" fmla="*/ 8365 h 8640"/>
              <a:gd name="T106" fmla="*/ 8861 w 8864"/>
              <a:gd name="T107" fmla="*/ 8310 h 8640"/>
              <a:gd name="T108" fmla="*/ 8864 w 8864"/>
              <a:gd name="T109" fmla="*/ 8250 h 8640"/>
              <a:gd name="T110" fmla="*/ 8861 w 8864"/>
              <a:gd name="T111" fmla="*/ 8186 h 8640"/>
              <a:gd name="T112" fmla="*/ 8848 w 8864"/>
              <a:gd name="T113" fmla="*/ 8118 h 8640"/>
              <a:gd name="T114" fmla="*/ 8830 w 8864"/>
              <a:gd name="T115" fmla="*/ 8046 h 8640"/>
              <a:gd name="T116" fmla="*/ 8803 w 8864"/>
              <a:gd name="T117" fmla="*/ 7969 h 8640"/>
              <a:gd name="T118" fmla="*/ 8767 w 8864"/>
              <a:gd name="T119" fmla="*/ 7889 h 8640"/>
              <a:gd name="T120" fmla="*/ 8725 w 8864"/>
              <a:gd name="T121" fmla="*/ 7805 h 8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864" h="8640">
                <a:moveTo>
                  <a:pt x="6100" y="4659"/>
                </a:moveTo>
                <a:lnTo>
                  <a:pt x="4233" y="7787"/>
                </a:lnTo>
                <a:lnTo>
                  <a:pt x="4514" y="5419"/>
                </a:lnTo>
                <a:lnTo>
                  <a:pt x="2764" y="5356"/>
                </a:lnTo>
                <a:lnTo>
                  <a:pt x="3284" y="3398"/>
                </a:lnTo>
                <a:lnTo>
                  <a:pt x="4588" y="3532"/>
                </a:lnTo>
                <a:lnTo>
                  <a:pt x="4018" y="4570"/>
                </a:lnTo>
                <a:lnTo>
                  <a:pt x="6100" y="4659"/>
                </a:lnTo>
                <a:close/>
                <a:moveTo>
                  <a:pt x="8701" y="7761"/>
                </a:moveTo>
                <a:lnTo>
                  <a:pt x="7696" y="5879"/>
                </a:lnTo>
                <a:lnTo>
                  <a:pt x="7696" y="5879"/>
                </a:lnTo>
                <a:lnTo>
                  <a:pt x="7688" y="5880"/>
                </a:lnTo>
                <a:lnTo>
                  <a:pt x="7485" y="5491"/>
                </a:lnTo>
                <a:lnTo>
                  <a:pt x="7488" y="5491"/>
                </a:lnTo>
                <a:lnTo>
                  <a:pt x="7339" y="5212"/>
                </a:lnTo>
                <a:lnTo>
                  <a:pt x="7182" y="4909"/>
                </a:lnTo>
                <a:lnTo>
                  <a:pt x="7177" y="4909"/>
                </a:lnTo>
                <a:lnTo>
                  <a:pt x="4702" y="274"/>
                </a:lnTo>
                <a:lnTo>
                  <a:pt x="4702" y="274"/>
                </a:lnTo>
                <a:lnTo>
                  <a:pt x="4686" y="241"/>
                </a:lnTo>
                <a:lnTo>
                  <a:pt x="4669" y="210"/>
                </a:lnTo>
                <a:lnTo>
                  <a:pt x="4653" y="180"/>
                </a:lnTo>
                <a:lnTo>
                  <a:pt x="4636" y="153"/>
                </a:lnTo>
                <a:lnTo>
                  <a:pt x="4620" y="130"/>
                </a:lnTo>
                <a:lnTo>
                  <a:pt x="4603" y="106"/>
                </a:lnTo>
                <a:lnTo>
                  <a:pt x="4588" y="86"/>
                </a:lnTo>
                <a:lnTo>
                  <a:pt x="4570" y="67"/>
                </a:lnTo>
                <a:lnTo>
                  <a:pt x="4555" y="52"/>
                </a:lnTo>
                <a:lnTo>
                  <a:pt x="4539" y="38"/>
                </a:lnTo>
                <a:lnTo>
                  <a:pt x="4522" y="27"/>
                </a:lnTo>
                <a:lnTo>
                  <a:pt x="4506" y="17"/>
                </a:lnTo>
                <a:lnTo>
                  <a:pt x="4491" y="9"/>
                </a:lnTo>
                <a:lnTo>
                  <a:pt x="4473" y="3"/>
                </a:lnTo>
                <a:lnTo>
                  <a:pt x="4458" y="0"/>
                </a:lnTo>
                <a:lnTo>
                  <a:pt x="4442" y="0"/>
                </a:lnTo>
                <a:lnTo>
                  <a:pt x="4425" y="0"/>
                </a:lnTo>
                <a:lnTo>
                  <a:pt x="4409" y="3"/>
                </a:lnTo>
                <a:lnTo>
                  <a:pt x="4394" y="9"/>
                </a:lnTo>
                <a:lnTo>
                  <a:pt x="4376" y="17"/>
                </a:lnTo>
                <a:lnTo>
                  <a:pt x="4361" y="27"/>
                </a:lnTo>
                <a:lnTo>
                  <a:pt x="4344" y="38"/>
                </a:lnTo>
                <a:lnTo>
                  <a:pt x="4328" y="52"/>
                </a:lnTo>
                <a:lnTo>
                  <a:pt x="4312" y="67"/>
                </a:lnTo>
                <a:lnTo>
                  <a:pt x="4295" y="86"/>
                </a:lnTo>
                <a:lnTo>
                  <a:pt x="4280" y="106"/>
                </a:lnTo>
                <a:lnTo>
                  <a:pt x="4262" y="130"/>
                </a:lnTo>
                <a:lnTo>
                  <a:pt x="4247" y="153"/>
                </a:lnTo>
                <a:lnTo>
                  <a:pt x="4230" y="180"/>
                </a:lnTo>
                <a:lnTo>
                  <a:pt x="4214" y="210"/>
                </a:lnTo>
                <a:lnTo>
                  <a:pt x="4197" y="241"/>
                </a:lnTo>
                <a:lnTo>
                  <a:pt x="4181" y="274"/>
                </a:lnTo>
                <a:lnTo>
                  <a:pt x="1809" y="4715"/>
                </a:lnTo>
                <a:lnTo>
                  <a:pt x="1772" y="4753"/>
                </a:lnTo>
                <a:lnTo>
                  <a:pt x="1095" y="6038"/>
                </a:lnTo>
                <a:lnTo>
                  <a:pt x="1096" y="6048"/>
                </a:lnTo>
                <a:lnTo>
                  <a:pt x="88" y="7936"/>
                </a:lnTo>
                <a:lnTo>
                  <a:pt x="88" y="7936"/>
                </a:lnTo>
                <a:lnTo>
                  <a:pt x="72" y="7970"/>
                </a:lnTo>
                <a:lnTo>
                  <a:pt x="58" y="8003"/>
                </a:lnTo>
                <a:lnTo>
                  <a:pt x="45" y="8036"/>
                </a:lnTo>
                <a:lnTo>
                  <a:pt x="34" y="8067"/>
                </a:lnTo>
                <a:lnTo>
                  <a:pt x="25" y="8097"/>
                </a:lnTo>
                <a:lnTo>
                  <a:pt x="17" y="8128"/>
                </a:lnTo>
                <a:lnTo>
                  <a:pt x="9" y="8157"/>
                </a:lnTo>
                <a:lnTo>
                  <a:pt x="5" y="8185"/>
                </a:lnTo>
                <a:lnTo>
                  <a:pt x="2" y="8213"/>
                </a:lnTo>
                <a:lnTo>
                  <a:pt x="0" y="8240"/>
                </a:lnTo>
                <a:lnTo>
                  <a:pt x="0" y="8266"/>
                </a:lnTo>
                <a:lnTo>
                  <a:pt x="2" y="8291"/>
                </a:lnTo>
                <a:lnTo>
                  <a:pt x="5" y="8316"/>
                </a:lnTo>
                <a:lnTo>
                  <a:pt x="9" y="8340"/>
                </a:lnTo>
                <a:lnTo>
                  <a:pt x="14" y="8363"/>
                </a:lnTo>
                <a:lnTo>
                  <a:pt x="22" y="8385"/>
                </a:lnTo>
                <a:lnTo>
                  <a:pt x="31" y="8407"/>
                </a:lnTo>
                <a:lnTo>
                  <a:pt x="42" y="8427"/>
                </a:lnTo>
                <a:lnTo>
                  <a:pt x="55" y="8448"/>
                </a:lnTo>
                <a:lnTo>
                  <a:pt x="69" y="8466"/>
                </a:lnTo>
                <a:lnTo>
                  <a:pt x="84" y="8485"/>
                </a:lnTo>
                <a:lnTo>
                  <a:pt x="102" y="8502"/>
                </a:lnTo>
                <a:lnTo>
                  <a:pt x="120" y="8520"/>
                </a:lnTo>
                <a:lnTo>
                  <a:pt x="139" y="8537"/>
                </a:lnTo>
                <a:lnTo>
                  <a:pt x="161" y="8552"/>
                </a:lnTo>
                <a:lnTo>
                  <a:pt x="185" y="8566"/>
                </a:lnTo>
                <a:lnTo>
                  <a:pt x="210" y="8581"/>
                </a:lnTo>
                <a:lnTo>
                  <a:pt x="236" y="8595"/>
                </a:lnTo>
                <a:lnTo>
                  <a:pt x="264" y="8607"/>
                </a:lnTo>
                <a:lnTo>
                  <a:pt x="294" y="8618"/>
                </a:lnTo>
                <a:lnTo>
                  <a:pt x="325" y="8631"/>
                </a:lnTo>
                <a:lnTo>
                  <a:pt x="358" y="8640"/>
                </a:lnTo>
                <a:lnTo>
                  <a:pt x="8518" y="8640"/>
                </a:lnTo>
                <a:lnTo>
                  <a:pt x="8518" y="8640"/>
                </a:lnTo>
                <a:lnTo>
                  <a:pt x="8553" y="8629"/>
                </a:lnTo>
                <a:lnTo>
                  <a:pt x="8586" y="8618"/>
                </a:lnTo>
                <a:lnTo>
                  <a:pt x="8619" y="8606"/>
                </a:lnTo>
                <a:lnTo>
                  <a:pt x="8648" y="8592"/>
                </a:lnTo>
                <a:lnTo>
                  <a:pt x="8675" y="8576"/>
                </a:lnTo>
                <a:lnTo>
                  <a:pt x="8701" y="8560"/>
                </a:lnTo>
                <a:lnTo>
                  <a:pt x="8725" y="8543"/>
                </a:lnTo>
                <a:lnTo>
                  <a:pt x="8747" y="8524"/>
                </a:lnTo>
                <a:lnTo>
                  <a:pt x="8767" y="8504"/>
                </a:lnTo>
                <a:lnTo>
                  <a:pt x="8786" y="8484"/>
                </a:lnTo>
                <a:lnTo>
                  <a:pt x="8801" y="8462"/>
                </a:lnTo>
                <a:lnTo>
                  <a:pt x="8817" y="8440"/>
                </a:lnTo>
                <a:lnTo>
                  <a:pt x="8830" y="8416"/>
                </a:lnTo>
                <a:lnTo>
                  <a:pt x="8841" y="8391"/>
                </a:lnTo>
                <a:lnTo>
                  <a:pt x="8848" y="8365"/>
                </a:lnTo>
                <a:lnTo>
                  <a:pt x="8855" y="8338"/>
                </a:lnTo>
                <a:lnTo>
                  <a:pt x="8861" y="8310"/>
                </a:lnTo>
                <a:lnTo>
                  <a:pt x="8864" y="8280"/>
                </a:lnTo>
                <a:lnTo>
                  <a:pt x="8864" y="8250"/>
                </a:lnTo>
                <a:lnTo>
                  <a:pt x="8864" y="8219"/>
                </a:lnTo>
                <a:lnTo>
                  <a:pt x="8861" y="8186"/>
                </a:lnTo>
                <a:lnTo>
                  <a:pt x="8856" y="8153"/>
                </a:lnTo>
                <a:lnTo>
                  <a:pt x="8848" y="8118"/>
                </a:lnTo>
                <a:lnTo>
                  <a:pt x="8841" y="8083"/>
                </a:lnTo>
                <a:lnTo>
                  <a:pt x="8830" y="8046"/>
                </a:lnTo>
                <a:lnTo>
                  <a:pt x="8817" y="8008"/>
                </a:lnTo>
                <a:lnTo>
                  <a:pt x="8803" y="7969"/>
                </a:lnTo>
                <a:lnTo>
                  <a:pt x="8786" y="7930"/>
                </a:lnTo>
                <a:lnTo>
                  <a:pt x="8767" y="7889"/>
                </a:lnTo>
                <a:lnTo>
                  <a:pt x="8747" y="7847"/>
                </a:lnTo>
                <a:lnTo>
                  <a:pt x="8725" y="7805"/>
                </a:lnTo>
                <a:lnTo>
                  <a:pt x="8701" y="7761"/>
                </a:lnTo>
                <a:close/>
              </a:path>
            </a:pathLst>
          </a:custGeom>
          <a:solidFill>
            <a:srgbClr val="93949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2" name="Textplatzhalter 18">
            <a:extLst>
              <a:ext uri="{FF2B5EF4-FFF2-40B4-BE49-F238E27FC236}">
                <a16:creationId xmlns:a16="http://schemas.microsoft.com/office/drawing/2014/main" id="{03649D64-80B9-9BFA-6923-F347C5A7D38E}"/>
              </a:ext>
            </a:extLst>
          </p:cNvPr>
          <p:cNvSpPr txBox="1">
            <a:spLocks/>
          </p:cNvSpPr>
          <p:nvPr/>
        </p:nvSpPr>
        <p:spPr bwMode="gray">
          <a:xfrm>
            <a:off x="3852407" y="2752295"/>
            <a:ext cx="3339547" cy="2628476"/>
          </a:xfrm>
          <a:prstGeom prst="rect">
            <a:avLst/>
          </a:prstGeom>
        </p:spPr>
        <p:txBody>
          <a:bodyPr vert="horz" wrap="square" lIns="0" tIns="0" rIns="0" bIns="0" rtlCol="0">
            <a:spAutoFit/>
          </a:bodyPr>
          <a:lstStyle>
            <a:lvl1pPr algn="l" rtl="0" eaLnBrk="1" fontAlgn="base" hangingPunct="1">
              <a:lnSpc>
                <a:spcPct val="106000"/>
              </a:lnSpc>
              <a:spcBef>
                <a:spcPts val="800"/>
              </a:spcBef>
              <a:spcAft>
                <a:spcPts val="0"/>
              </a:spcAft>
              <a:defRPr sz="1000" b="1" kern="1200">
                <a:solidFill>
                  <a:schemeClr val="accent2"/>
                </a:solidFill>
                <a:latin typeface="+mn-lt"/>
                <a:ea typeface="ＭＳ Ｐゴシック" pitchFamily="-109" charset="-128"/>
                <a:cs typeface="ＭＳ Ｐゴシック" pitchFamily="-109" charset="-128"/>
              </a:defRPr>
            </a:lvl1pPr>
            <a:lvl2pPr marL="0" marR="0" indent="0" algn="l" defTabSz="914400" rtl="0" eaLnBrk="1" fontAlgn="base" latinLnBrk="0" hangingPunct="1">
              <a:lnSpc>
                <a:spcPct val="106000"/>
              </a:lnSpc>
              <a:spcBef>
                <a:spcPts val="200"/>
              </a:spcBef>
              <a:spcAft>
                <a:spcPts val="0"/>
              </a:spcAft>
              <a:buClrTx/>
              <a:buSzTx/>
              <a:buFontTx/>
              <a:buNone/>
              <a:tabLst/>
              <a:defRPr sz="900" kern="1200">
                <a:solidFill>
                  <a:schemeClr val="bg2"/>
                </a:solidFill>
                <a:latin typeface="DWS Sans Light" panose="02010404010101010104" pitchFamily="50" charset="0"/>
                <a:ea typeface="ＭＳ Ｐゴシック" pitchFamily="-109" charset="-128"/>
                <a:cs typeface="DWS Sans Light" panose="02010404010101010104" pitchFamily="50" charset="0"/>
              </a:defRPr>
            </a:lvl2pPr>
            <a:lvl3pPr marL="9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3pPr>
            <a:lvl4pPr marL="18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4pPr>
            <a:lvl5pPr marL="0" indent="0" algn="l" rtl="0" eaLnBrk="1" fontAlgn="base" hangingPunct="1">
              <a:lnSpc>
                <a:spcPct val="106000"/>
              </a:lnSpc>
              <a:spcBef>
                <a:spcPts val="1200"/>
              </a:spcBef>
              <a:spcAft>
                <a:spcPts val="0"/>
              </a:spcAft>
              <a:buFont typeface="Arial" panose="020B0604020202020204" pitchFamily="34" charset="0"/>
              <a:buNone/>
              <a:defRPr sz="10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r>
              <a:rPr lang="it-IT" sz="900" b="0" dirty="0">
                <a:solidFill>
                  <a:schemeClr val="bg2"/>
                </a:solidFill>
                <a:latin typeface="DWS Sans Light" panose="02010404010101010104" pitchFamily="50" charset="0"/>
                <a:cs typeface="DWS Sans Light" panose="02010404010101010104" pitchFamily="50" charset="0"/>
              </a:rPr>
              <a:t>Non sono più i soli catalizzatori che trainano i mercati azionari. “Osserviamo che i rialzi dei mercati azionari ora poggiano su basi più ampie”, nota Vedda. Perfino i titoli </a:t>
            </a:r>
            <a:r>
              <a:rPr lang="it-IT" sz="900" b="0" i="1" dirty="0" err="1">
                <a:solidFill>
                  <a:schemeClr val="bg2"/>
                </a:solidFill>
                <a:latin typeface="DWS Sans Light" panose="02010404010101010104" pitchFamily="50" charset="0"/>
                <a:cs typeface="DWS Sans Light" panose="02010404010101010104" pitchFamily="50" charset="0"/>
              </a:rPr>
              <a:t>value</a:t>
            </a:r>
            <a:r>
              <a:rPr lang="it-IT" sz="900" b="0" dirty="0">
                <a:solidFill>
                  <a:schemeClr val="bg2"/>
                </a:solidFill>
                <a:latin typeface="DWS Sans Light" panose="02010404010101010104" pitchFamily="50" charset="0"/>
                <a:cs typeface="DWS Sans Light" panose="02010404010101010104" pitchFamily="50" charset="0"/>
              </a:rPr>
              <a:t> hanno generato rendimenti sostanziali, a volte superando i celebri colossi tecnologici statunitensi del gruppo dei “Magnifici Sette". Le banche europee, ad esempio, hanno registrato rialzi superiori al 400% negli ultimi cinque anni. Ciononostante, l’intelligenza artificiale resta forse il tema più caldo, con un enorme potenziale dirompente. Ma l’etichetta, da sola, non dovrebbe guidare le scelte di investimento. “L’AI continuerà a creare interessanti opportunità di investimento. Tuttavia, riteniamo sia prudente concentrarsi su quei segmenti in cui è probabile che emergano colli di bottiglia”, spiega Vedda. Un po’ di cautela è consigliabile in questo momento. “Manteniamo la nostra </a:t>
            </a:r>
            <a:r>
              <a:rPr lang="it-IT" sz="900" b="0" dirty="0" err="1">
                <a:solidFill>
                  <a:schemeClr val="bg2"/>
                </a:solidFill>
                <a:latin typeface="DWS Sans Light" panose="02010404010101010104" pitchFamily="50" charset="0"/>
                <a:cs typeface="DWS Sans Light" panose="02010404010101010104" pitchFamily="50" charset="0"/>
              </a:rPr>
              <a:t>view</a:t>
            </a:r>
            <a:r>
              <a:rPr lang="it-IT" sz="900" b="0" dirty="0">
                <a:solidFill>
                  <a:schemeClr val="bg2"/>
                </a:solidFill>
                <a:latin typeface="DWS Sans Light" panose="02010404010101010104" pitchFamily="50" charset="0"/>
                <a:cs typeface="DWS Sans Light" panose="02010404010101010104" pitchFamily="50" charset="0"/>
              </a:rPr>
              <a:t> secondo cui un portafoglio ampiamente diversificato — sia geograficamente sia tra settori — sarà probabilmente la scelta migliore per gli investitori in un mondo in cui le società tecnologiche USA combinano i tassi di crescita più elevati con le valutazioni più alte.”</a:t>
            </a:r>
          </a:p>
        </p:txBody>
      </p:sp>
      <p:grpSp>
        <p:nvGrpSpPr>
          <p:cNvPr id="9" name="Gruppieren 8">
            <a:extLst>
              <a:ext uri="{FF2B5EF4-FFF2-40B4-BE49-F238E27FC236}">
                <a16:creationId xmlns:a16="http://schemas.microsoft.com/office/drawing/2014/main" id="{5485D71F-0FCB-FDFA-57DC-AC713AA56210}"/>
              </a:ext>
            </a:extLst>
          </p:cNvPr>
          <p:cNvGrpSpPr/>
          <p:nvPr/>
        </p:nvGrpSpPr>
        <p:grpSpPr>
          <a:xfrm>
            <a:off x="612278" y="2718958"/>
            <a:ext cx="721848" cy="1000771"/>
            <a:chOff x="1622121" y="2701425"/>
            <a:chExt cx="721848" cy="1000771"/>
          </a:xfrm>
        </p:grpSpPr>
        <p:pic>
          <p:nvPicPr>
            <p:cNvPr id="4" name="Picture 6">
              <a:extLst>
                <a:ext uri="{FF2B5EF4-FFF2-40B4-BE49-F238E27FC236}">
                  <a16:creationId xmlns:a16="http://schemas.microsoft.com/office/drawing/2014/main" id="{7C72A61F-DC55-A4D0-3C8C-83B13A52DB53}"/>
                </a:ext>
              </a:extLst>
            </p:cNvPr>
            <p:cNvPicPr>
              <a:picLocks noChangeAspect="1"/>
            </p:cNvPicPr>
            <p:nvPr/>
          </p:nvPicPr>
          <p:blipFill>
            <a:blip r:embed="rId3" cstate="print">
              <a:extLst>
                <a:ext uri="{28A0092B-C50C-407E-A947-70E740481C1C}">
                  <a14:useLocalDpi xmlns:a14="http://schemas.microsoft.com/office/drawing/2010/main" val="0"/>
                </a:ext>
              </a:extLst>
            </a:blip>
            <a:srcRect l="27893" t="3862" r="33300" b="66455"/>
            <a:stretch>
              <a:fillRect/>
            </a:stretch>
          </p:blipFill>
          <p:spPr bwMode="auto">
            <a:xfrm>
              <a:off x="1622121" y="2701425"/>
              <a:ext cx="720000" cy="825563"/>
            </a:xfrm>
            <a:prstGeom prst="rect">
              <a:avLst/>
            </a:prstGeom>
            <a:noFill/>
            <a:ln>
              <a:noFill/>
            </a:ln>
            <a:extLst>
              <a:ext uri="{53640926-AAD7-44D8-BBD7-CCE9431645EC}">
                <a14:shadowObscured xmlns:a14="http://schemas.microsoft.com/office/drawing/2010/main"/>
              </a:ext>
            </a:extLst>
          </p:spPr>
        </p:pic>
        <p:sp>
          <p:nvSpPr>
            <p:cNvPr id="10" name="Rechteck 9">
              <a:extLst>
                <a:ext uri="{FF2B5EF4-FFF2-40B4-BE49-F238E27FC236}">
                  <a16:creationId xmlns:a16="http://schemas.microsoft.com/office/drawing/2014/main" id="{86C6B0AE-98F9-8162-D13E-0D20ECD7459C}"/>
                </a:ext>
              </a:extLst>
            </p:cNvPr>
            <p:cNvSpPr/>
            <p:nvPr/>
          </p:nvSpPr>
          <p:spPr bwMode="auto">
            <a:xfrm>
              <a:off x="1623969" y="3526939"/>
              <a:ext cx="720000" cy="175257"/>
            </a:xfrm>
            <a:prstGeom prst="rect">
              <a:avLst/>
            </a:prstGeom>
            <a:solidFill>
              <a:schemeClr val="accent3">
                <a:lumMod val="20000"/>
                <a:lumOff val="80000"/>
              </a:schemeClr>
            </a:solidFill>
            <a:ln w="6350">
              <a:noFill/>
              <a:miter lim="800000"/>
              <a:headEnd/>
              <a:tailEnd/>
            </a:ln>
          </p:spPr>
          <p:txBody>
            <a:bodyPr lIns="36000" tIns="0" rIns="36000" bIns="54000" rtlCol="0" anchor="b" anchorCtr="0">
              <a:noAutofit/>
            </a:bodyPr>
            <a:lstStyle/>
            <a:p>
              <a:pPr algn="ctr" defTabSz="963613" eaLnBrk="0" hangingPunct="0">
                <a:spcBef>
                  <a:spcPts val="200"/>
                </a:spcBef>
                <a:buClrTx/>
                <a:tabLst>
                  <a:tab pos="1257300" algn="l"/>
                </a:tabLst>
              </a:pPr>
              <a:endParaRPr lang="de-DE" sz="600" dirty="0">
                <a:solidFill>
                  <a:schemeClr val="bg2"/>
                </a:solidFill>
                <a:latin typeface="DWS Sans Light" panose="02010404010101010104" pitchFamily="50" charset="0"/>
                <a:cs typeface="DWS Sans Light" panose="02010404010101010104" pitchFamily="50" charset="0"/>
              </a:endParaRPr>
            </a:p>
            <a:p>
              <a:pPr algn="ctr" defTabSz="963613" eaLnBrk="0" hangingPunct="0">
                <a:spcBef>
                  <a:spcPts val="200"/>
                </a:spcBef>
                <a:buClrTx/>
                <a:tabLst>
                  <a:tab pos="1257300" algn="l"/>
                </a:tabLst>
              </a:pPr>
              <a:endParaRPr lang="de-DE" sz="600" dirty="0">
                <a:solidFill>
                  <a:schemeClr val="bg2"/>
                </a:solidFill>
                <a:latin typeface="DWS Sans Light" panose="02010404010101010104" pitchFamily="50" charset="0"/>
                <a:cs typeface="DWS Sans Light" panose="02010404010101010104" pitchFamily="50" charset="0"/>
              </a:endParaRPr>
            </a:p>
            <a:p>
              <a:pPr algn="ctr" defTabSz="963613" eaLnBrk="0" hangingPunct="0">
                <a:spcBef>
                  <a:spcPts val="200"/>
                </a:spcBef>
                <a:buClrTx/>
                <a:tabLst>
                  <a:tab pos="1257300" algn="l"/>
                </a:tabLst>
              </a:pPr>
              <a:endParaRPr lang="de-DE" sz="600" dirty="0">
                <a:solidFill>
                  <a:schemeClr val="bg2"/>
                </a:solidFill>
                <a:latin typeface="DWS Sans Light" panose="02010404010101010104" pitchFamily="50" charset="0"/>
                <a:cs typeface="DWS Sans Light" panose="02010404010101010104" pitchFamily="50" charset="0"/>
              </a:endParaRPr>
            </a:p>
            <a:p>
              <a:pPr algn="ctr" defTabSz="963613" eaLnBrk="0" hangingPunct="0">
                <a:spcBef>
                  <a:spcPts val="200"/>
                </a:spcBef>
                <a:buClrTx/>
                <a:tabLst>
                  <a:tab pos="1257300" algn="l"/>
                </a:tabLst>
              </a:pPr>
              <a:endParaRPr lang="de-DE" sz="600" dirty="0">
                <a:solidFill>
                  <a:schemeClr val="bg2"/>
                </a:solidFill>
                <a:latin typeface="DWS Sans Light" panose="02010404010101010104" pitchFamily="50" charset="0"/>
                <a:cs typeface="DWS Sans Light" panose="02010404010101010104" pitchFamily="50" charset="0"/>
              </a:endParaRPr>
            </a:p>
            <a:p>
              <a:pPr algn="ctr" defTabSz="963613" eaLnBrk="0" hangingPunct="0">
                <a:spcBef>
                  <a:spcPts val="200"/>
                </a:spcBef>
                <a:buClrTx/>
                <a:tabLst>
                  <a:tab pos="1257300" algn="l"/>
                </a:tabLst>
              </a:pPr>
              <a:endParaRPr lang="de-DE" sz="600" dirty="0">
                <a:solidFill>
                  <a:schemeClr val="bg2"/>
                </a:solidFill>
                <a:latin typeface="DWS Sans Light" panose="02010404010101010104" pitchFamily="50" charset="0"/>
                <a:cs typeface="DWS Sans Light" panose="02010404010101010104" pitchFamily="50" charset="0"/>
              </a:endParaRPr>
            </a:p>
            <a:p>
              <a:pPr algn="ctr" defTabSz="963613" eaLnBrk="0" hangingPunct="0">
                <a:spcBef>
                  <a:spcPts val="200"/>
                </a:spcBef>
                <a:buClrTx/>
                <a:tabLst>
                  <a:tab pos="1257300" algn="l"/>
                </a:tabLst>
              </a:pPr>
              <a:r>
                <a:rPr lang="de-DE" sz="600" dirty="0">
                  <a:solidFill>
                    <a:schemeClr val="bg2"/>
                  </a:solidFill>
                  <a:latin typeface="DWS Sans Light" panose="02010404010101010104" pitchFamily="50" charset="0"/>
                  <a:cs typeface="DWS Sans Light" panose="02010404010101010104" pitchFamily="50" charset="0"/>
                </a:rPr>
                <a:t>Vincenzo Vedda</a:t>
              </a:r>
            </a:p>
          </p:txBody>
        </p:sp>
      </p:grpSp>
      <p:sp>
        <p:nvSpPr>
          <p:cNvPr id="8" name="Textplatzhalter 9">
            <a:extLst>
              <a:ext uri="{FF2B5EF4-FFF2-40B4-BE49-F238E27FC236}">
                <a16:creationId xmlns:a16="http://schemas.microsoft.com/office/drawing/2014/main" id="{0FE7054D-2CDB-53B2-BDF7-785A25781B7C}"/>
              </a:ext>
            </a:extLst>
          </p:cNvPr>
          <p:cNvSpPr txBox="1">
            <a:spLocks/>
          </p:cNvSpPr>
          <p:nvPr/>
        </p:nvSpPr>
        <p:spPr bwMode="gray">
          <a:xfrm>
            <a:off x="1457327" y="8487473"/>
            <a:ext cx="5544000" cy="870559"/>
          </a:xfrm>
          <a:prstGeom prst="rect">
            <a:avLst/>
          </a:prstGeom>
        </p:spPr>
        <p:txBody>
          <a:bodyPr vert="horz" wrap="square" lIns="0" tIns="0" rIns="0" bIns="0" rtlCol="0">
            <a:spAutoFit/>
          </a:bodyPr>
          <a:lstStyle>
            <a:lvl1pPr algn="l" rtl="0" eaLnBrk="1" fontAlgn="base" hangingPunct="1">
              <a:lnSpc>
                <a:spcPct val="106000"/>
              </a:lnSpc>
              <a:spcBef>
                <a:spcPts val="800"/>
              </a:spcBef>
              <a:spcAft>
                <a:spcPts val="0"/>
              </a:spcAft>
              <a:defRPr sz="1000" b="1" kern="1200">
                <a:solidFill>
                  <a:schemeClr val="accent2"/>
                </a:solidFill>
                <a:latin typeface="+mn-lt"/>
                <a:ea typeface="ＭＳ Ｐゴシック" pitchFamily="-109" charset="-128"/>
                <a:cs typeface="ＭＳ Ｐゴシック" pitchFamily="-109" charset="-128"/>
              </a:defRPr>
            </a:lvl1pPr>
            <a:lvl2pPr marL="126000" marR="0" indent="-126000" algn="l" defTabSz="914400" rtl="0" eaLnBrk="1" fontAlgn="base" latinLnBrk="0" hangingPunct="1">
              <a:lnSpc>
                <a:spcPct val="100000"/>
              </a:lnSpc>
              <a:spcBef>
                <a:spcPts val="600"/>
              </a:spcBef>
              <a:spcAft>
                <a:spcPts val="0"/>
              </a:spcAft>
              <a:buClrTx/>
              <a:buSzTx/>
              <a:buFont typeface="Arial" panose="020B0604020202020204" pitchFamily="34" charset="0"/>
              <a:buChar char="_"/>
              <a:tabLst/>
              <a:defRPr sz="900" kern="1200">
                <a:solidFill>
                  <a:schemeClr val="bg2"/>
                </a:solidFill>
                <a:latin typeface="DWS Sans Light" panose="02010404010101010104" pitchFamily="50" charset="0"/>
                <a:ea typeface="ＭＳ Ｐゴシック" pitchFamily="-109" charset="-128"/>
                <a:cs typeface="DWS Sans Light" panose="02010404010101010104" pitchFamily="50" charset="0"/>
              </a:defRPr>
            </a:lvl2pPr>
            <a:lvl3pPr marL="9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3pPr>
            <a:lvl4pPr marL="18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4pPr>
            <a:lvl5pPr marL="0" indent="0" algn="l" rtl="0" eaLnBrk="1" fontAlgn="base" hangingPunct="1">
              <a:lnSpc>
                <a:spcPct val="106000"/>
              </a:lnSpc>
              <a:spcBef>
                <a:spcPts val="1200"/>
              </a:spcBef>
              <a:spcAft>
                <a:spcPts val="0"/>
              </a:spcAft>
              <a:buFont typeface="Arial" panose="020B0604020202020204" pitchFamily="34" charset="0"/>
              <a:buNone/>
              <a:defRPr sz="12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pPr>
              <a:spcBef>
                <a:spcPts val="0"/>
              </a:spcBef>
            </a:pPr>
            <a:r>
              <a:rPr lang="it-IT" sz="900" b="0" dirty="0">
                <a:solidFill>
                  <a:schemeClr val="bg2"/>
                </a:solidFill>
                <a:latin typeface="DWS Sans Light" panose="02010404010101010104" pitchFamily="50" charset="0"/>
                <a:cs typeface="DWS Sans Light" panose="02010404010101010104" pitchFamily="50" charset="0"/>
              </a:rPr>
              <a:t>- La Federal Reserve statunitense ha lasciato invariato il suo tasso di riferimento, lasciandolo tra il 3,5% e il 3,75% durante la riunione di gennaio, dopo tre tagli consecutivi. Il presidente della Fed, Powell, ha spiegato la decisione osservando che l’inflazione rimane leggermente elevata, mentre il tasso di disoccupazione sembra stabilizzarsi.</a:t>
            </a:r>
          </a:p>
          <a:p>
            <a:pPr>
              <a:spcBef>
                <a:spcPts val="0"/>
              </a:spcBef>
            </a:pPr>
            <a:r>
              <a:rPr lang="it-IT" sz="900" b="0" dirty="0">
                <a:solidFill>
                  <a:schemeClr val="bg2"/>
                </a:solidFill>
                <a:latin typeface="DWS Sans Light" panose="02010404010101010104" pitchFamily="50" charset="0"/>
                <a:cs typeface="DWS Sans Light" panose="02010404010101010104" pitchFamily="50" charset="0"/>
              </a:rPr>
              <a:t>- Dato il tasso d’inflazione moderato nell’area euro, non ci aspettiamo che la Banca Centrale Europea effettui ulteriori tagli dei tassi quest’anno.</a:t>
            </a:r>
          </a:p>
        </p:txBody>
      </p:sp>
    </p:spTree>
    <p:extLst>
      <p:ext uri="{BB962C8B-B14F-4D97-AF65-F5344CB8AC3E}">
        <p14:creationId xmlns:p14="http://schemas.microsoft.com/office/powerpoint/2010/main" val="40681319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extplatzhalter 62"/>
          <p:cNvSpPr>
            <a:spLocks noGrp="1"/>
          </p:cNvSpPr>
          <p:nvPr>
            <p:ph type="body" sz="quarter" idx="12"/>
          </p:nvPr>
        </p:nvSpPr>
        <p:spPr>
          <a:xfrm>
            <a:off x="639222" y="966082"/>
            <a:ext cx="3278169" cy="4564795"/>
          </a:xfrm>
        </p:spPr>
        <p:txBody>
          <a:bodyPr>
            <a:noAutofit/>
          </a:bodyPr>
          <a:lstStyle/>
          <a:p>
            <a:r>
              <a:rPr lang="de-DE" sz="900" b="0" dirty="0">
                <a:solidFill>
                  <a:schemeClr val="bg2"/>
                </a:solidFill>
                <a:latin typeface="DWS Sans Light" panose="02010404010101010104" pitchFamily="50" charset="0"/>
                <a:cs typeface="DWS Sans Light" panose="02010404010101010104" pitchFamily="50" charset="0"/>
              </a:rPr>
              <a:t>	</a:t>
            </a:r>
            <a:r>
              <a:rPr lang="it-IT" sz="890" b="0" dirty="0">
                <a:solidFill>
                  <a:schemeClr val="bg2"/>
                </a:solidFill>
                <a:latin typeface="DWS Sans Light" panose="02010404010101010104" pitchFamily="50" charset="0"/>
                <a:cs typeface="DWS Sans Light" panose="02010404010101010104" pitchFamily="50" charset="0"/>
              </a:rPr>
              <a:t> “L’attacco vince le partite, la difesa vince i 	campionati”, si dice nello sport. “E qualche 	parallelismo con il mercato azionario esiste di 	certo”, osserva la Portfolio Manager Madeleine 	Ronner. Nelle fasi di calo dei tassi d’interesse e	di abbondante liquidità, gli stili di investimento 	più offensivi – come il </a:t>
            </a:r>
            <a:r>
              <a:rPr lang="it-IT" sz="890" b="0" dirty="0" err="1">
                <a:solidFill>
                  <a:schemeClr val="bg2"/>
                </a:solidFill>
                <a:latin typeface="DWS Sans Light" panose="02010404010101010104" pitchFamily="50" charset="0"/>
                <a:cs typeface="DWS Sans Light" panose="02010404010101010104" pitchFamily="50" charset="0"/>
              </a:rPr>
              <a:t>growth</a:t>
            </a:r>
            <a:r>
              <a:rPr lang="it-IT" sz="890" b="0" dirty="0">
                <a:solidFill>
                  <a:schemeClr val="bg2"/>
                </a:solidFill>
                <a:latin typeface="DWS Sans Light" panose="02010404010101010104" pitchFamily="50" charset="0"/>
                <a:cs typeface="DWS Sans Light" panose="02010404010101010104" pitchFamily="50" charset="0"/>
              </a:rPr>
              <a:t> e l’high beta, 	ovvero strategie focalizzate su titoli con una volatilità superiore rispetto al mercato – tendono spesso a sovraperformare nel breve termine. Nel lungo periodo, però, per “vincere il campionato”, un portafoglio deve saper attraversare diversi cicli di mercato. Conta quindi puntare su valutazioni sostenibili della crescita degli utili, su bilanci solidi e su modelli di business robusti. In questo contesto, le strategie più difensive – come gli approcci orientati ai dividendi – possono offrire un vantaggio nel tempo. I titoli selezionati con dividendi possono contribuire alla diversificazione dell’azionario, grazie al potenziale di pagamenti regolari e alla crescita dei dividendi stessi. “Questo può aiutare a sostenere i rendimenti reali in un contesto di inflazione e incertezza sui tassi d’interesse”, afferma Ronner. Guardando all’Europa come area di investimento, Ronner individua opportunità crescenti nei titoli orientati ai dividendi. Con il rialzo delle quotazioni europee, infatti, i dividendi sono tra i pochi fattori rimasti ancora valutati a livelli relativamente interessanti. “Gli investimenti in dividendi rappresentano un modo efficace per introdurre vera diversificazione in portafoglio, a valutazioni interessanti”, sottolinea. Quanto alle prospettive più ampie per le azioni europee rispetto a quelle statunitensi, il 2025 ha segnato una modesta rinascita per l’Europa. Pur scambiando ancora a sconto rispetto ai titoli USA, le azioni europee hanno parzialmente colmato il divario. Una parte significativa della performance è però dipesa dall’espansione dei multipli, mentre negli Stati Uniti il motore principale dei prezzi resta la crescita degli utili societari.</a:t>
            </a:r>
          </a:p>
          <a:p>
            <a:r>
              <a:rPr lang="it-IT" sz="890" b="0" dirty="0">
                <a:solidFill>
                  <a:schemeClr val="bg2"/>
                </a:solidFill>
                <a:latin typeface="DWS Sans Light" panose="02010404010101010104" pitchFamily="50" charset="0"/>
                <a:cs typeface="DWS Sans Light" panose="02010404010101010104" pitchFamily="50" charset="0"/>
              </a:rPr>
              <a:t> </a:t>
            </a:r>
          </a:p>
          <a:p>
            <a:pPr defTabSz="803275">
              <a:lnSpc>
                <a:spcPct val="100000"/>
              </a:lnSpc>
              <a:tabLst>
                <a:tab pos="806450" algn="l"/>
              </a:tabLst>
            </a:pPr>
            <a:endParaRPr lang="de-DE" sz="900" b="0" dirty="0">
              <a:solidFill>
                <a:schemeClr val="bg2"/>
              </a:solidFill>
              <a:latin typeface="DWS Sans Light" panose="02010404010101010104" pitchFamily="50" charset="0"/>
              <a:cs typeface="DWS Sans Light" panose="02010404010101010104" pitchFamily="50" charset="0"/>
            </a:endParaRPr>
          </a:p>
        </p:txBody>
      </p:sp>
      <p:sp>
        <p:nvSpPr>
          <p:cNvPr id="62" name="Titel 61"/>
          <p:cNvSpPr>
            <a:spLocks noGrp="1"/>
          </p:cNvSpPr>
          <p:nvPr>
            <p:ph type="title"/>
          </p:nvPr>
        </p:nvSpPr>
        <p:spPr>
          <a:xfrm>
            <a:off x="642071" y="654819"/>
            <a:ext cx="6335713" cy="204671"/>
          </a:xfrm>
        </p:spPr>
        <p:txBody>
          <a:bodyPr/>
          <a:lstStyle/>
          <a:p>
            <a:r>
              <a:rPr lang="it-IT" sz="1400" dirty="0">
                <a:ea typeface="+mn-ea"/>
              </a:rPr>
              <a:t>Azioni europee: opportunità in crescita nei titoli dividendo</a:t>
            </a:r>
            <a:endParaRPr lang="de-DE" sz="1400" dirty="0">
              <a:ea typeface="+mn-ea"/>
            </a:endParaRPr>
          </a:p>
        </p:txBody>
      </p:sp>
      <p:sp>
        <p:nvSpPr>
          <p:cNvPr id="127" name="Foliennummernplatzhalter 2"/>
          <p:cNvSpPr>
            <a:spLocks noGrp="1"/>
          </p:cNvSpPr>
          <p:nvPr>
            <p:ph type="sldNum" sz="quarter" idx="10"/>
          </p:nvPr>
        </p:nvSpPr>
        <p:spPr>
          <a:xfrm>
            <a:off x="6858295" y="10395040"/>
            <a:ext cx="91765" cy="107722"/>
          </a:xfrm>
        </p:spPr>
        <p:txBody>
          <a:bodyPr/>
          <a:lstStyle/>
          <a:p>
            <a:pPr algn="r"/>
            <a:r>
              <a:rPr lang="de-DE" dirty="0">
                <a:latin typeface="DWS Sans Light" panose="02010404010101010104"/>
              </a:rPr>
              <a:t>2</a:t>
            </a:r>
          </a:p>
        </p:txBody>
      </p:sp>
      <p:sp>
        <p:nvSpPr>
          <p:cNvPr id="65" name="Textplatzhalter 64"/>
          <p:cNvSpPr>
            <a:spLocks noGrp="1"/>
          </p:cNvSpPr>
          <p:nvPr>
            <p:ph type="body" sz="quarter" idx="15"/>
          </p:nvPr>
        </p:nvSpPr>
        <p:spPr>
          <a:xfrm>
            <a:off x="612278" y="430584"/>
            <a:ext cx="158698" cy="169277"/>
          </a:xfrm>
        </p:spPr>
        <p:txBody>
          <a:bodyPr/>
          <a:lstStyle/>
          <a:p>
            <a:r>
              <a:rPr lang="de-DE" dirty="0">
                <a:latin typeface="DWS Sans Light" panose="02010404010101010104" pitchFamily="50" charset="0"/>
                <a:cs typeface="DWS Sans Light" panose="02010404010101010104" pitchFamily="50" charset="0"/>
              </a:rPr>
              <a:t>#2</a:t>
            </a:r>
          </a:p>
        </p:txBody>
      </p:sp>
      <p:sp>
        <p:nvSpPr>
          <p:cNvPr id="66" name="Textplatzhalter 65"/>
          <p:cNvSpPr>
            <a:spLocks noGrp="1"/>
          </p:cNvSpPr>
          <p:nvPr>
            <p:ph type="body" sz="quarter" idx="16"/>
          </p:nvPr>
        </p:nvSpPr>
        <p:spPr>
          <a:xfrm>
            <a:off x="828303" y="430584"/>
            <a:ext cx="6120680" cy="169277"/>
          </a:xfrm>
        </p:spPr>
        <p:txBody>
          <a:bodyPr/>
          <a:lstStyle/>
          <a:p>
            <a:r>
              <a:rPr lang="de-DE" dirty="0" err="1">
                <a:latin typeface="DWS Slab Light" panose="02010404010101010104" pitchFamily="50" charset="0"/>
                <a:cs typeface="DWS Slab Light" panose="02010404010101010104" pitchFamily="50" charset="0"/>
              </a:rPr>
              <a:t>Azionario</a:t>
            </a:r>
            <a:endParaRPr lang="de-DE" dirty="0">
              <a:latin typeface="DWS Slab Light" panose="02010404010101010104" pitchFamily="50" charset="0"/>
              <a:cs typeface="DWS Slab Light" panose="02010404010101010104" pitchFamily="50" charset="0"/>
            </a:endParaRPr>
          </a:p>
        </p:txBody>
      </p:sp>
      <p:sp>
        <p:nvSpPr>
          <p:cNvPr id="186" name="Textplatzhalter 75"/>
          <p:cNvSpPr>
            <a:spLocks noGrp="1"/>
          </p:cNvSpPr>
          <p:nvPr>
            <p:ph type="body" sz="quarter" idx="4294967295"/>
          </p:nvPr>
        </p:nvSpPr>
        <p:spPr>
          <a:xfrm>
            <a:off x="693122" y="7306806"/>
            <a:ext cx="6350457" cy="183999"/>
          </a:xfrm>
        </p:spPr>
        <p:txBody>
          <a:bodyPr vert="horz" lIns="0" tIns="0" rIns="0" bIns="0" rtlCol="0">
            <a:normAutofit fontScale="25000" lnSpcReduction="20000"/>
          </a:bodyPr>
          <a:lstStyle/>
          <a:p>
            <a:r>
              <a:rPr lang="en-GB" sz="4000" b="0" dirty="0">
                <a:latin typeface="DWS Sans Light" panose="02010404010101010104" pitchFamily="50" charset="0"/>
                <a:cs typeface="DWS Sans Light" panose="02010404010101010104" pitchFamily="50" charset="0"/>
              </a:rPr>
              <a:t>A</a:t>
            </a:r>
            <a:r>
              <a:rPr lang="it-IT" sz="4000" b="0" dirty="0" err="1">
                <a:latin typeface="DWS Sans Light" panose="02010404010101010104" pitchFamily="50" charset="0"/>
                <a:cs typeface="DWS Sans Light" panose="02010404010101010104" pitchFamily="50" charset="0"/>
              </a:rPr>
              <a:t>zionario</a:t>
            </a:r>
            <a:r>
              <a:rPr lang="it-IT" sz="4000" b="0" dirty="0">
                <a:latin typeface="DWS Sans Light" panose="02010404010101010104" pitchFamily="50" charset="0"/>
                <a:cs typeface="DWS Sans Light" panose="02010404010101010104" pitchFamily="50" charset="0"/>
              </a:rPr>
              <a:t> Germania</a:t>
            </a:r>
            <a:r>
              <a:rPr lang="de-DE" sz="4000" b="0" dirty="0">
                <a:latin typeface="DWS Sans Light" panose="02010404010101010104" pitchFamily="50" charset="0"/>
                <a:cs typeface="DWS Sans Light" panose="02010404010101010104" pitchFamily="50" charset="0"/>
              </a:rPr>
              <a:t>: </a:t>
            </a:r>
            <a:r>
              <a:rPr lang="it-IT" sz="4000" b="0" dirty="0">
                <a:solidFill>
                  <a:schemeClr val="bg2"/>
                </a:solidFill>
                <a:latin typeface="DWS Sans Light" panose="02010404010101010104" pitchFamily="50" charset="0"/>
                <a:cs typeface="DWS Sans Light" panose="02010404010101010104" pitchFamily="50" charset="0"/>
              </a:rPr>
              <a:t>Mercato preferito in Europa</a:t>
            </a:r>
          </a:p>
          <a:p>
            <a:r>
              <a:rPr lang="it-IT" sz="3100" dirty="0"/>
              <a:t> </a:t>
            </a:r>
          </a:p>
          <a:p>
            <a:endParaRPr lang="de-DE" dirty="0">
              <a:solidFill>
                <a:schemeClr val="bg2"/>
              </a:solidFill>
              <a:latin typeface="DWS Sans Light" panose="02010404010101010104" pitchFamily="50" charset="0"/>
            </a:endParaRPr>
          </a:p>
        </p:txBody>
      </p:sp>
      <p:sp>
        <p:nvSpPr>
          <p:cNvPr id="188" name="Textplatzhalter 77"/>
          <p:cNvSpPr>
            <a:spLocks noGrp="1"/>
          </p:cNvSpPr>
          <p:nvPr>
            <p:ph type="body" sz="quarter" idx="4294967295"/>
          </p:nvPr>
        </p:nvSpPr>
        <p:spPr>
          <a:xfrm>
            <a:off x="670576" y="8241925"/>
            <a:ext cx="6415175" cy="183999"/>
          </a:xfrm>
        </p:spPr>
        <p:txBody>
          <a:bodyPr vert="horz" lIns="0" tIns="0" rIns="0" bIns="0" rtlCol="0">
            <a:noAutofit/>
          </a:bodyPr>
          <a:lstStyle/>
          <a:p>
            <a:r>
              <a:rPr lang="it-IT" sz="900" b="0" dirty="0">
                <a:latin typeface="DWS Sans Light" panose="02010404010101010104" pitchFamily="50" charset="0"/>
                <a:cs typeface="DWS Sans Light" panose="02010404010101010104" pitchFamily="50" charset="0"/>
              </a:rPr>
              <a:t>Azionario Europeo</a:t>
            </a:r>
            <a:r>
              <a:rPr lang="de-DE" sz="960" b="0" dirty="0">
                <a:latin typeface="DWS Sans Light" panose="02010404010101010104" pitchFamily="50" charset="0"/>
                <a:cs typeface="DWS Sans Light" panose="02010404010101010104" pitchFamily="50" charset="0"/>
              </a:rPr>
              <a:t>: </a:t>
            </a:r>
            <a:r>
              <a:rPr lang="it-IT" b="0" dirty="0">
                <a:solidFill>
                  <a:schemeClr val="bg2"/>
                </a:solidFill>
                <a:latin typeface="DWS Sans Light" panose="02010404010101010104" pitchFamily="50" charset="0"/>
                <a:cs typeface="DWS Sans Light" panose="02010404010101010104" pitchFamily="50" charset="0"/>
              </a:rPr>
              <a:t>Diversificazione efficace oltre i titoli tecnologici statunitensi</a:t>
            </a:r>
          </a:p>
          <a:p>
            <a:r>
              <a:rPr lang="it-IT" dirty="0"/>
              <a:t> </a:t>
            </a:r>
          </a:p>
          <a:p>
            <a:endParaRPr lang="de-DE" dirty="0">
              <a:solidFill>
                <a:schemeClr val="bg2"/>
              </a:solidFill>
              <a:latin typeface="DWS Sans Light" panose="02010404010101010104" pitchFamily="50" charset="0"/>
            </a:endParaRPr>
          </a:p>
        </p:txBody>
      </p:sp>
      <p:sp>
        <p:nvSpPr>
          <p:cNvPr id="190" name="Textplatzhalter 79"/>
          <p:cNvSpPr>
            <a:spLocks noGrp="1"/>
          </p:cNvSpPr>
          <p:nvPr>
            <p:ph type="body" sz="quarter" idx="4294967295"/>
          </p:nvPr>
        </p:nvSpPr>
        <p:spPr>
          <a:xfrm>
            <a:off x="713414" y="6346230"/>
            <a:ext cx="6350457" cy="183999"/>
          </a:xfrm>
        </p:spPr>
        <p:txBody>
          <a:bodyPr>
            <a:normAutofit/>
          </a:bodyPr>
          <a:lstStyle/>
          <a:p>
            <a:r>
              <a:rPr lang="de-DE" b="0" dirty="0" err="1">
                <a:latin typeface="DWS Sans Light" panose="02010404010101010104" pitchFamily="50" charset="0"/>
                <a:cs typeface="DWS Sans Light" panose="02010404010101010104" pitchFamily="50" charset="0"/>
              </a:rPr>
              <a:t>Azionario</a:t>
            </a:r>
            <a:r>
              <a:rPr lang="de-DE" b="0" dirty="0">
                <a:latin typeface="DWS Sans Light" panose="02010404010101010104" pitchFamily="50" charset="0"/>
                <a:cs typeface="DWS Sans Light" panose="02010404010101010104" pitchFamily="50" charset="0"/>
              </a:rPr>
              <a:t> USA</a:t>
            </a:r>
            <a:r>
              <a:rPr lang="de-DE" b="0" dirty="0">
                <a:latin typeface="DWS Sans Light" panose="02010404010101010104" pitchFamily="50" charset="0"/>
              </a:rPr>
              <a:t>:</a:t>
            </a:r>
            <a:r>
              <a:rPr lang="de-DE" dirty="0">
                <a:solidFill>
                  <a:schemeClr val="bg2"/>
                </a:solidFill>
                <a:latin typeface="DWS Sans Light" panose="02010404010101010104" pitchFamily="50" charset="0"/>
              </a:rPr>
              <a:t> </a:t>
            </a:r>
            <a:r>
              <a:rPr lang="it-IT" b="0" dirty="0">
                <a:solidFill>
                  <a:schemeClr val="bg2"/>
                </a:solidFill>
                <a:latin typeface="DWS Sans Light" panose="02010404010101010104" pitchFamily="50" charset="0"/>
                <a:cs typeface="DWS Sans Light" panose="02010404010101010104" pitchFamily="50" charset="0"/>
              </a:rPr>
              <a:t>Titoli tecnologici: la crescita degli utili rimane robusta</a:t>
            </a:r>
          </a:p>
          <a:p>
            <a:endParaRPr lang="de-DE" dirty="0">
              <a:solidFill>
                <a:srgbClr val="FF0000"/>
              </a:solidFill>
              <a:latin typeface="DWS Sans Light" panose="02010404010101010104" pitchFamily="50" charset="0"/>
            </a:endParaRPr>
          </a:p>
        </p:txBody>
      </p:sp>
      <p:sp>
        <p:nvSpPr>
          <p:cNvPr id="192" name="Textplatzhalter 72"/>
          <p:cNvSpPr>
            <a:spLocks noGrp="1"/>
          </p:cNvSpPr>
          <p:nvPr>
            <p:ph type="body" sz="quarter" idx="4294967295"/>
          </p:nvPr>
        </p:nvSpPr>
        <p:spPr>
          <a:xfrm>
            <a:off x="1452234" y="9425037"/>
            <a:ext cx="5580000" cy="723724"/>
          </a:xfrm>
        </p:spPr>
        <p:txBody>
          <a:bodyPr vert="horz" wrap="square" lIns="0" tIns="0" rIns="0" bIns="0" rtlCol="0">
            <a:spAutoFit/>
          </a:bodyPr>
          <a:lstStyle/>
          <a:p>
            <a:r>
              <a:rPr lang="it-IT" sz="900" b="0" dirty="0">
                <a:solidFill>
                  <a:schemeClr val="bg2"/>
                </a:solidFill>
                <a:latin typeface="DWS Sans Light" panose="02010404010101010104" pitchFamily="50" charset="0"/>
                <a:cs typeface="DWS Sans Light" panose="02010404010101010104" pitchFamily="50" charset="0"/>
              </a:rPr>
              <a:t>– Vediamo una serie di opportunità di investimento interessanti nei mercati emergenti. L’America Latina sta beneficiando del perdurante boom delle materie prime e dei cambiamenti nelle dinamiche politiche, mentre l’Asia continua a trarre vantaggio dal rafforzamento del commercio regionale e dal suo ruolo di attore chiave nella catena di approvvigionamento alla base del boom dell’AI.</a:t>
            </a:r>
            <a:br>
              <a:rPr lang="it-IT" sz="900" b="0" dirty="0">
                <a:solidFill>
                  <a:schemeClr val="bg2"/>
                </a:solidFill>
                <a:latin typeface="DWS Sans Light" panose="02010404010101010104" pitchFamily="50" charset="0"/>
                <a:cs typeface="DWS Sans Light" panose="02010404010101010104" pitchFamily="50" charset="0"/>
              </a:rPr>
            </a:br>
            <a:r>
              <a:rPr lang="it-IT" sz="900" b="0" dirty="0">
                <a:solidFill>
                  <a:schemeClr val="bg2"/>
                </a:solidFill>
                <a:latin typeface="DWS Sans Light" panose="02010404010101010104" pitchFamily="50" charset="0"/>
                <a:cs typeface="DWS Sans Light" panose="02010404010101010104" pitchFamily="50" charset="0"/>
              </a:rPr>
              <a:t>– A nostro avviso, un dollaro statunitense più debole aumenta ulteriormente l’attrattiva della regione.</a:t>
            </a:r>
          </a:p>
        </p:txBody>
      </p:sp>
      <p:sp>
        <p:nvSpPr>
          <p:cNvPr id="193" name="Textplatzhalter 81"/>
          <p:cNvSpPr>
            <a:spLocks noGrp="1"/>
          </p:cNvSpPr>
          <p:nvPr>
            <p:ph type="body" sz="quarter" idx="4294967295"/>
          </p:nvPr>
        </p:nvSpPr>
        <p:spPr>
          <a:xfrm>
            <a:off x="1460732" y="8468820"/>
            <a:ext cx="5544000" cy="576889"/>
          </a:xfrm>
        </p:spPr>
        <p:txBody>
          <a:bodyPr vert="horz" wrap="square" lIns="0" tIns="0" rIns="0" bIns="0" rtlCol="0">
            <a:spAutoFit/>
          </a:bodyPr>
          <a:lstStyle/>
          <a:p>
            <a:r>
              <a:rPr lang="it-IT" sz="900" b="0" dirty="0">
                <a:solidFill>
                  <a:schemeClr val="bg2"/>
                </a:solidFill>
                <a:latin typeface="DWS Sans Light" panose="02010404010101010104" pitchFamily="50" charset="0"/>
                <a:cs typeface="DWS Sans Light" panose="02010404010101010104" pitchFamily="50" charset="0"/>
              </a:rPr>
              <a:t>– Le condizioni per le azioni europee appaiono favorevoli: i dati economici sono risultati leggermente migliori del previsto, le minacce temporanee di ulteriori dazi da parte di Donald Trump si sono per il momento attenuate e la Francia ha approvato il suo bilancio per il 2026.</a:t>
            </a:r>
            <a:br>
              <a:rPr lang="it-IT" sz="900" b="0" dirty="0">
                <a:solidFill>
                  <a:schemeClr val="bg2"/>
                </a:solidFill>
                <a:latin typeface="DWS Sans Light" panose="02010404010101010104" pitchFamily="50" charset="0"/>
                <a:cs typeface="DWS Sans Light" panose="02010404010101010104" pitchFamily="50" charset="0"/>
              </a:rPr>
            </a:br>
            <a:r>
              <a:rPr lang="it-IT" sz="900" b="0" dirty="0">
                <a:solidFill>
                  <a:schemeClr val="bg2"/>
                </a:solidFill>
                <a:latin typeface="DWS Sans Light" panose="02010404010101010104" pitchFamily="50" charset="0"/>
                <a:cs typeface="DWS Sans Light" panose="02010404010101010104" pitchFamily="50" charset="0"/>
              </a:rPr>
              <a:t>– Consideriamo inoltre le azioni europee come uno strumento di diversificazione.</a:t>
            </a:r>
          </a:p>
        </p:txBody>
      </p:sp>
      <p:sp>
        <p:nvSpPr>
          <p:cNvPr id="194" name="Textplatzhalter 82"/>
          <p:cNvSpPr>
            <a:spLocks noGrp="1"/>
          </p:cNvSpPr>
          <p:nvPr>
            <p:ph type="body" sz="quarter" idx="4294967295"/>
          </p:nvPr>
        </p:nvSpPr>
        <p:spPr>
          <a:xfrm>
            <a:off x="1449076" y="7511350"/>
            <a:ext cx="5544000" cy="576889"/>
          </a:xfrm>
        </p:spPr>
        <p:txBody>
          <a:bodyPr vert="horz" wrap="square" lIns="0" tIns="0" rIns="0" bIns="0" rtlCol="0">
            <a:spAutoFit/>
          </a:bodyPr>
          <a:lstStyle/>
          <a:p>
            <a:r>
              <a:rPr lang="it-IT" sz="900" b="0" dirty="0">
                <a:solidFill>
                  <a:schemeClr val="bg2"/>
                </a:solidFill>
                <a:latin typeface="DWS Sans Light" panose="02010404010101010104" pitchFamily="50" charset="0"/>
                <a:cs typeface="DWS Sans Light" panose="02010404010101010104" pitchFamily="50" charset="0"/>
              </a:rPr>
              <a:t>– L’indice di riferimento tedesco, il </a:t>
            </a:r>
            <a:r>
              <a:rPr lang="it-IT" sz="900" b="0" dirty="0" err="1">
                <a:solidFill>
                  <a:schemeClr val="bg2"/>
                </a:solidFill>
                <a:latin typeface="DWS Sans Light" panose="02010404010101010104" pitchFamily="50" charset="0"/>
                <a:cs typeface="DWS Sans Light" panose="02010404010101010104" pitchFamily="50" charset="0"/>
              </a:rPr>
              <a:t>Dax</a:t>
            </a:r>
            <a:r>
              <a:rPr lang="it-IT" sz="900" b="0" dirty="0">
                <a:solidFill>
                  <a:schemeClr val="bg2"/>
                </a:solidFill>
                <a:latin typeface="DWS Sans Light" panose="02010404010101010104" pitchFamily="50" charset="0"/>
                <a:cs typeface="DWS Sans Light" panose="02010404010101010104" pitchFamily="50" charset="0"/>
              </a:rPr>
              <a:t>, non è riuscito a mantenere lo slancio mostrato all’inizio dell’anno. Tuttavia, la Germania rimane il nostro mercato azionario preferito all’interno dell’Europa.</a:t>
            </a:r>
            <a:br>
              <a:rPr lang="it-IT" sz="900" b="0" dirty="0">
                <a:solidFill>
                  <a:schemeClr val="bg2"/>
                </a:solidFill>
                <a:latin typeface="DWS Sans Light" panose="02010404010101010104" pitchFamily="50" charset="0"/>
                <a:cs typeface="DWS Sans Light" panose="02010404010101010104" pitchFamily="50" charset="0"/>
              </a:rPr>
            </a:br>
            <a:r>
              <a:rPr lang="it-IT" sz="900" b="0" dirty="0">
                <a:solidFill>
                  <a:schemeClr val="bg2"/>
                </a:solidFill>
                <a:latin typeface="DWS Sans Light" panose="02010404010101010104" pitchFamily="50" charset="0"/>
                <a:cs typeface="DWS Sans Light" panose="02010404010101010104" pitchFamily="50" charset="0"/>
              </a:rPr>
              <a:t>– Gli investimenti pubblici stanno gradualmente confluendo nei portafogli ordini delle aziende. Inoltre, ci aspettiamo che i venti contrari che hanno colpito il settore automobilistico si attenuino.</a:t>
            </a:r>
          </a:p>
        </p:txBody>
      </p:sp>
      <p:sp>
        <p:nvSpPr>
          <p:cNvPr id="195" name="Textplatzhalter 83"/>
          <p:cNvSpPr>
            <a:spLocks noGrp="1"/>
          </p:cNvSpPr>
          <p:nvPr>
            <p:ph type="body" sz="quarter" idx="4294967295"/>
          </p:nvPr>
        </p:nvSpPr>
        <p:spPr>
          <a:xfrm>
            <a:off x="1496731" y="6542851"/>
            <a:ext cx="5730808" cy="719621"/>
          </a:xfrm>
        </p:spPr>
        <p:txBody>
          <a:bodyPr vert="horz" wrap="square" lIns="0" tIns="0" rIns="0" bIns="0" rtlCol="0">
            <a:spAutoFit/>
          </a:bodyPr>
          <a:lstStyle/>
          <a:p>
            <a:pPr>
              <a:spcBef>
                <a:spcPts val="0"/>
              </a:spcBef>
            </a:pPr>
            <a:r>
              <a:rPr lang="it-IT" sz="900" b="0" dirty="0">
                <a:solidFill>
                  <a:schemeClr val="bg2"/>
                </a:solidFill>
                <a:latin typeface="DWS Sans Light" panose="02010404010101010104" pitchFamily="50" charset="0"/>
                <a:cs typeface="DWS Sans Light" panose="02010404010101010104" pitchFamily="50" charset="0"/>
              </a:rPr>
              <a:t>- La performance degli utili delle dieci maggiori società tecnologiche USA presenti nell’S&amp;P 500 rimane impressionante: i profitti sono aumentati del 24% nel quarto trimestre del 2025. Le restanti 490 società hanno registrato una crescita degli utili del 5%. Tuttavia, i dieci titoli tecnologici hanno sottoperformato rispetto al mercato più ampio.</a:t>
            </a:r>
          </a:p>
          <a:p>
            <a:pPr>
              <a:spcBef>
                <a:spcPts val="0"/>
              </a:spcBef>
            </a:pPr>
            <a:r>
              <a:rPr lang="it-IT" sz="900" b="0" dirty="0">
                <a:solidFill>
                  <a:schemeClr val="bg2"/>
                </a:solidFill>
                <a:latin typeface="DWS Sans Light" panose="02010404010101010104" pitchFamily="50" charset="0"/>
                <a:cs typeface="DWS Sans Light" panose="02010404010101010104" pitchFamily="50" charset="0"/>
              </a:rPr>
              <a:t>– I nostri favoriti attuali provengono dai settori finanziario, sanitario, delle utility e dei servizi di comunicazione.</a:t>
            </a:r>
          </a:p>
        </p:txBody>
      </p:sp>
      <p:sp>
        <p:nvSpPr>
          <p:cNvPr id="67" name="Textplatzhalter 109">
            <a:extLst>
              <a:ext uri="{FF2B5EF4-FFF2-40B4-BE49-F238E27FC236}">
                <a16:creationId xmlns:a16="http://schemas.microsoft.com/office/drawing/2014/main" id="{F7738536-9F86-AECB-C44F-0021FC707D4F}"/>
              </a:ext>
            </a:extLst>
          </p:cNvPr>
          <p:cNvSpPr txBox="1">
            <a:spLocks/>
          </p:cNvSpPr>
          <p:nvPr/>
        </p:nvSpPr>
        <p:spPr>
          <a:xfrm>
            <a:off x="526227" y="10123924"/>
            <a:ext cx="6517352" cy="423577"/>
          </a:xfrm>
          <a:prstGeom prst="rect">
            <a:avLst/>
          </a:prstGeom>
        </p:spPr>
        <p:txBody>
          <a:bodyPr wrap="square">
            <a:spAutoFit/>
          </a:bodyPr>
          <a:lstStyle>
            <a:lvl1pPr algn="l" rtl="0" eaLnBrk="1" fontAlgn="base" hangingPunct="1">
              <a:lnSpc>
                <a:spcPct val="106000"/>
              </a:lnSpc>
              <a:spcBef>
                <a:spcPts val="800"/>
              </a:spcBef>
              <a:spcAft>
                <a:spcPts val="0"/>
              </a:spcAft>
              <a:defRPr sz="1000" b="1" kern="1200">
                <a:solidFill>
                  <a:schemeClr val="accent2"/>
                </a:solidFill>
                <a:latin typeface="+mn-lt"/>
                <a:ea typeface="ＭＳ Ｐゴシック" pitchFamily="-109" charset="-128"/>
                <a:cs typeface="ＭＳ Ｐゴシック" pitchFamily="-109" charset="-128"/>
              </a:defRPr>
            </a:lvl1pPr>
            <a:lvl2pPr algn="l" rtl="0" eaLnBrk="1" fontAlgn="base" hangingPunct="1">
              <a:lnSpc>
                <a:spcPct val="106000"/>
              </a:lnSpc>
              <a:spcBef>
                <a:spcPts val="200"/>
              </a:spcBef>
              <a:spcAft>
                <a:spcPts val="0"/>
              </a:spcAft>
              <a:defRPr sz="1000" kern="1200">
                <a:solidFill>
                  <a:schemeClr val="bg2"/>
                </a:solidFill>
                <a:latin typeface="+mn-lt"/>
                <a:ea typeface="ＭＳ Ｐゴシック" pitchFamily="-109" charset="-128"/>
              </a:defRPr>
            </a:lvl2pPr>
            <a:lvl3pPr marL="9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3pPr>
            <a:lvl4pPr marL="18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4pPr>
            <a:lvl5pPr marL="0" indent="0" algn="l" rtl="0" eaLnBrk="1" fontAlgn="base" hangingPunct="1">
              <a:lnSpc>
                <a:spcPct val="106000"/>
              </a:lnSpc>
              <a:spcBef>
                <a:spcPts val="1200"/>
              </a:spcBef>
              <a:spcAft>
                <a:spcPts val="0"/>
              </a:spcAft>
              <a:buFont typeface="Arial" panose="020B0604020202020204" pitchFamily="34" charset="0"/>
              <a:buNone/>
              <a:defRPr sz="12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br>
              <a:rPr lang="en-US" sz="700" b="0" dirty="0">
                <a:solidFill>
                  <a:schemeClr val="accent3"/>
                </a:solidFill>
                <a:latin typeface="DWS Sans" panose="02010504010101010104" pitchFamily="50" charset="0"/>
                <a:cs typeface="DWS Sans" panose="02010504010101010104" pitchFamily="50" charset="0"/>
              </a:rPr>
            </a:br>
            <a:r>
              <a:rPr lang="it-IT" sz="700" b="0" dirty="0">
                <a:solidFill>
                  <a:schemeClr val="tx1">
                    <a:lumMod val="50000"/>
                  </a:schemeClr>
                </a:solidFill>
                <a:latin typeface="DWS Sans" panose="02010504010101010104" pitchFamily="50" charset="0"/>
                <a:cs typeface="DWS Sans" panose="02010504010101010104" pitchFamily="50" charset="0"/>
              </a:rPr>
              <a:t>Le previsioni si basano su ipotesi, stime, opinioni e modelli o analisi ipotetiche che potrebbero rivelarsi incorretti. Fonte: DWS Investment GmbH, dati al </a:t>
            </a:r>
            <a:r>
              <a:rPr lang="en-GB" sz="700" b="0" dirty="0">
                <a:solidFill>
                  <a:schemeClr val="tx1">
                    <a:lumMod val="50000"/>
                  </a:schemeClr>
                </a:solidFill>
                <a:latin typeface="DWS Sans" panose="02010504010101010104" pitchFamily="50" charset="0"/>
                <a:cs typeface="DWS Sans" panose="02010504010101010104" pitchFamily="50" charset="0"/>
              </a:rPr>
              <a:t>5 </a:t>
            </a:r>
            <a:r>
              <a:rPr lang="en-GB" sz="700" b="0" dirty="0" err="1">
                <a:solidFill>
                  <a:schemeClr val="tx1">
                    <a:lumMod val="50000"/>
                  </a:schemeClr>
                </a:solidFill>
                <a:latin typeface="DWS Sans" panose="02010504010101010104" pitchFamily="50" charset="0"/>
                <a:cs typeface="DWS Sans" panose="02010504010101010104" pitchFamily="50" charset="0"/>
              </a:rPr>
              <a:t>febbraio</a:t>
            </a:r>
            <a:r>
              <a:rPr lang="en-GB" sz="700" b="0" dirty="0">
                <a:solidFill>
                  <a:schemeClr val="tx1">
                    <a:lumMod val="50000"/>
                  </a:schemeClr>
                </a:solidFill>
                <a:latin typeface="DWS Sans" panose="02010504010101010104" pitchFamily="50" charset="0"/>
                <a:cs typeface="DWS Sans" panose="02010504010101010104" pitchFamily="50" charset="0"/>
              </a:rPr>
              <a:t> 2026</a:t>
            </a:r>
            <a:endParaRPr lang="en-US" sz="700" b="0" dirty="0">
              <a:solidFill>
                <a:schemeClr val="tx1">
                  <a:lumMod val="50000"/>
                </a:schemeClr>
              </a:solidFill>
              <a:latin typeface="DWS Sans" panose="02010504010101010104" pitchFamily="50" charset="0"/>
              <a:cs typeface="DWS Sans" panose="02010504010101010104" pitchFamily="50" charset="0"/>
            </a:endParaRPr>
          </a:p>
        </p:txBody>
      </p:sp>
      <p:sp>
        <p:nvSpPr>
          <p:cNvPr id="68" name="Rechteck 67">
            <a:extLst>
              <a:ext uri="{FF2B5EF4-FFF2-40B4-BE49-F238E27FC236}">
                <a16:creationId xmlns:a16="http://schemas.microsoft.com/office/drawing/2014/main" id="{3B59B879-0C2E-02D5-84FA-D301A915E8D3}"/>
              </a:ext>
            </a:extLst>
          </p:cNvPr>
          <p:cNvSpPr/>
          <p:nvPr/>
        </p:nvSpPr>
        <p:spPr>
          <a:xfrm>
            <a:off x="625510" y="9648834"/>
            <a:ext cx="6322978" cy="200055"/>
          </a:xfrm>
          <a:prstGeom prst="rect">
            <a:avLst/>
          </a:prstGeom>
        </p:spPr>
        <p:txBody>
          <a:bodyPr wrap="square" lIns="0" rIns="0">
            <a:spAutoFit/>
          </a:bodyPr>
          <a:lstStyle/>
          <a:p>
            <a:r>
              <a:rPr lang="en-US" sz="700" dirty="0">
                <a:solidFill>
                  <a:schemeClr val="accent3"/>
                </a:solidFill>
                <a:latin typeface="DWS Sans Light" panose="02010404010101010104" pitchFamily="50" charset="0"/>
                <a:cs typeface="DWS Sans Light" panose="02010404010101010104" pitchFamily="50" charset="0"/>
              </a:rPr>
              <a:t> </a:t>
            </a:r>
            <a:endParaRPr lang="en-US" sz="700" dirty="0">
              <a:solidFill>
                <a:srgbClr val="FF0000"/>
              </a:solidFill>
              <a:latin typeface="DWS Sans Light" panose="02010404010101010104" pitchFamily="50" charset="0"/>
              <a:cs typeface="DWS Sans Light" panose="02010404010101010104" pitchFamily="50" charset="0"/>
            </a:endParaRPr>
          </a:p>
        </p:txBody>
      </p:sp>
      <p:cxnSp>
        <p:nvCxnSpPr>
          <p:cNvPr id="69" name="Straight Connector 43">
            <a:extLst>
              <a:ext uri="{FF2B5EF4-FFF2-40B4-BE49-F238E27FC236}">
                <a16:creationId xmlns:a16="http://schemas.microsoft.com/office/drawing/2014/main" id="{727A44E1-9DF4-3C13-BE85-9903EBA3F3CE}"/>
              </a:ext>
            </a:extLst>
          </p:cNvPr>
          <p:cNvCxnSpPr>
            <a:cxnSpLocks/>
          </p:cNvCxnSpPr>
          <p:nvPr/>
        </p:nvCxnSpPr>
        <p:spPr bwMode="auto">
          <a:xfrm>
            <a:off x="612278" y="10169800"/>
            <a:ext cx="6336000" cy="0"/>
          </a:xfrm>
          <a:prstGeom prst="line">
            <a:avLst/>
          </a:prstGeom>
          <a:ln w="9525">
            <a:solidFill>
              <a:srgbClr val="A7B5B7"/>
            </a:solidFill>
          </a:ln>
        </p:spPr>
        <p:style>
          <a:lnRef idx="1">
            <a:schemeClr val="accent1"/>
          </a:lnRef>
          <a:fillRef idx="0">
            <a:schemeClr val="accent1"/>
          </a:fillRef>
          <a:effectRef idx="0">
            <a:schemeClr val="accent1"/>
          </a:effectRef>
          <a:fontRef idx="minor">
            <a:schemeClr val="tx1"/>
          </a:fontRef>
        </p:style>
      </p:cxnSp>
      <p:sp>
        <p:nvSpPr>
          <p:cNvPr id="71" name="Text Placeholder 5">
            <a:extLst>
              <a:ext uri="{FF2B5EF4-FFF2-40B4-BE49-F238E27FC236}">
                <a16:creationId xmlns:a16="http://schemas.microsoft.com/office/drawing/2014/main" id="{4745FDDE-288C-5878-9D4F-D74116FF5EA4}"/>
              </a:ext>
            </a:extLst>
          </p:cNvPr>
          <p:cNvSpPr txBox="1">
            <a:spLocks/>
          </p:cNvSpPr>
          <p:nvPr/>
        </p:nvSpPr>
        <p:spPr bwMode="gray">
          <a:xfrm>
            <a:off x="3949370" y="2602404"/>
            <a:ext cx="3400986" cy="138499"/>
          </a:xfrm>
          <a:prstGeom prst="rect">
            <a:avLst/>
          </a:prstGeom>
          <a:solidFill>
            <a:schemeClr val="tx1"/>
          </a:solidFill>
        </p:spPr>
        <p:txBody>
          <a:bodyPr vert="horz" wrap="square" lIns="72000" tIns="0" rIns="72000" bIns="0">
            <a:spAutoFit/>
          </a:bodyPr>
          <a:lstStyle>
            <a:lvl1pPr marL="0" indent="0" algn="l" defTabSz="685766" rtl="0" eaLnBrk="1" latinLnBrk="0" hangingPunct="1">
              <a:lnSpc>
                <a:spcPct val="100000"/>
              </a:lnSpc>
              <a:spcBef>
                <a:spcPts val="1000"/>
              </a:spcBef>
              <a:spcAft>
                <a:spcPts val="0"/>
              </a:spcAft>
              <a:buFont typeface="Arial" pitchFamily="34" charset="0"/>
              <a:buNone/>
              <a:defRPr sz="1100" b="1" kern="1200" cap="none" baseline="0">
                <a:solidFill>
                  <a:srgbClr val="000000"/>
                </a:solidFill>
                <a:latin typeface="Calibri" panose="020F0502020204030204" pitchFamily="34" charset="0"/>
                <a:ea typeface="+mn-ea"/>
                <a:cs typeface="Calibri" panose="020F0502020204030204" pitchFamily="34" charset="0"/>
              </a:defRPr>
            </a:lvl1pPr>
            <a:lvl2pPr marL="0" marR="0" indent="0" algn="l" defTabSz="685766" rtl="0" eaLnBrk="1" fontAlgn="auto" latinLnBrk="0" hangingPunct="1">
              <a:lnSpc>
                <a:spcPct val="100000"/>
              </a:lnSpc>
              <a:spcBef>
                <a:spcPts val="300"/>
              </a:spcBef>
              <a:spcAft>
                <a:spcPts val="0"/>
              </a:spcAft>
              <a:buClrTx/>
              <a:buSzTx/>
              <a:buFont typeface="Arial" pitchFamily="34" charset="0"/>
              <a:buNone/>
              <a:tabLst/>
              <a:defRPr sz="1000" kern="1200">
                <a:solidFill>
                  <a:srgbClr val="000000"/>
                </a:solidFill>
                <a:latin typeface="+mn-lt"/>
                <a:ea typeface="+mn-ea"/>
                <a:cs typeface="Calibri" panose="020F0502020204030204" pitchFamily="34" charset="0"/>
              </a:defRPr>
            </a:lvl2pPr>
            <a:lvl3pPr marL="137160" indent="-137160" algn="l" defTabSz="685766" rtl="0" eaLnBrk="1" latinLnBrk="0" hangingPunct="1">
              <a:lnSpc>
                <a:spcPct val="100000"/>
              </a:lnSpc>
              <a:spcBef>
                <a:spcPts val="300"/>
              </a:spcBef>
              <a:spcAft>
                <a:spcPts val="0"/>
              </a:spcAft>
              <a:buFont typeface="DWS Sans Light" panose="02010404010101010104" pitchFamily="50" charset="0"/>
              <a:buChar char="—"/>
              <a:defRPr sz="1000" kern="1200">
                <a:solidFill>
                  <a:srgbClr val="000000"/>
                </a:solidFill>
                <a:latin typeface="Calibri" panose="020F0502020204030204" pitchFamily="34" charset="0"/>
                <a:ea typeface="+mn-ea"/>
                <a:cs typeface="Calibri" panose="020F0502020204030204" pitchFamily="34" charset="0"/>
              </a:defRPr>
            </a:lvl3pPr>
            <a:lvl4pPr marL="274320" indent="-137160" algn="l" defTabSz="685766" rtl="0" eaLnBrk="1" latinLnBrk="0" hangingPunct="1">
              <a:lnSpc>
                <a:spcPct val="100000"/>
              </a:lnSpc>
              <a:spcBef>
                <a:spcPts val="300"/>
              </a:spcBef>
              <a:spcAft>
                <a:spcPts val="0"/>
              </a:spcAft>
              <a:buFont typeface="DWS Sans Light" panose="02010404010101010104" pitchFamily="50" charset="0"/>
              <a:buChar char="—"/>
              <a:defRPr sz="1000" kern="1200">
                <a:solidFill>
                  <a:srgbClr val="000000"/>
                </a:solidFill>
                <a:latin typeface="Calibri" panose="020F0502020204030204" pitchFamily="34" charset="0"/>
                <a:ea typeface="+mn-ea"/>
                <a:cs typeface="Calibri" panose="020F0502020204030204" pitchFamily="34" charset="0"/>
              </a:defRPr>
            </a:lvl4pPr>
            <a:lvl5pPr marL="411480" indent="-137160" algn="l" defTabSz="685766" rtl="0" eaLnBrk="1" latinLnBrk="0" hangingPunct="1">
              <a:lnSpc>
                <a:spcPct val="100000"/>
              </a:lnSpc>
              <a:spcBef>
                <a:spcPts val="300"/>
              </a:spcBef>
              <a:spcAft>
                <a:spcPts val="0"/>
              </a:spcAft>
              <a:buFont typeface="DWS Sans Light" panose="020B0404020101010102" pitchFamily="34" charset="0"/>
              <a:buChar char="—"/>
              <a:defRPr sz="1000" kern="1200">
                <a:solidFill>
                  <a:srgbClr val="000000"/>
                </a:solidFill>
                <a:latin typeface="Calibri" panose="020F0502020204030204" pitchFamily="34" charset="0"/>
                <a:ea typeface="+mn-ea"/>
                <a:cs typeface="Calibri" panose="020F0502020204030204" pitchFamily="34" charset="0"/>
              </a:defRPr>
            </a:lvl5pPr>
            <a:lvl6pPr marL="432000" indent="-144000" algn="l" defTabSz="685766" rtl="0" eaLnBrk="1" latinLnBrk="0" hangingPunct="1">
              <a:lnSpc>
                <a:spcPct val="100000"/>
              </a:lnSpc>
              <a:spcBef>
                <a:spcPts val="300"/>
              </a:spcBef>
              <a:spcAft>
                <a:spcPts val="0"/>
              </a:spcAft>
              <a:buFont typeface="DWS Sans Light" panose="020B0404020101010102" pitchFamily="34" charset="0"/>
              <a:buChar char="—"/>
              <a:defRPr sz="1000" kern="1200">
                <a:solidFill>
                  <a:schemeClr val="tx1"/>
                </a:solidFill>
                <a:latin typeface="+mn-lt"/>
                <a:ea typeface="+mn-ea"/>
                <a:cs typeface="+mn-cs"/>
              </a:defRPr>
            </a:lvl6pPr>
            <a:lvl7pPr marL="432000" indent="-144000" algn="l" defTabSz="685766" rtl="0" eaLnBrk="1" latinLnBrk="0" hangingPunct="1">
              <a:lnSpc>
                <a:spcPct val="100000"/>
              </a:lnSpc>
              <a:spcBef>
                <a:spcPts val="300"/>
              </a:spcBef>
              <a:spcAft>
                <a:spcPts val="0"/>
              </a:spcAft>
              <a:buFont typeface="DWS Sans Light" panose="020B0404020101010102" pitchFamily="34" charset="0"/>
              <a:buChar char="—"/>
              <a:defRPr sz="1000" kern="1200">
                <a:solidFill>
                  <a:schemeClr val="tx1"/>
                </a:solidFill>
                <a:latin typeface="+mn-lt"/>
                <a:ea typeface="+mn-ea"/>
                <a:cs typeface="+mn-cs"/>
              </a:defRPr>
            </a:lvl7pPr>
            <a:lvl8pPr marL="432000" indent="-144000" algn="l" defTabSz="685766" rtl="0" eaLnBrk="1" latinLnBrk="0" hangingPunct="1">
              <a:lnSpc>
                <a:spcPct val="100000"/>
              </a:lnSpc>
              <a:spcBef>
                <a:spcPts val="300"/>
              </a:spcBef>
              <a:spcAft>
                <a:spcPts val="0"/>
              </a:spcAft>
              <a:buFont typeface="DWS Sans Light" panose="020B0404020101010102" pitchFamily="34" charset="0"/>
              <a:buChar char="—"/>
              <a:defRPr sz="1000" kern="1200">
                <a:solidFill>
                  <a:schemeClr val="tx1"/>
                </a:solidFill>
                <a:latin typeface="+mn-lt"/>
                <a:ea typeface="+mn-ea"/>
                <a:cs typeface="+mn-cs"/>
              </a:defRPr>
            </a:lvl8pPr>
            <a:lvl9pPr marL="432000" indent="-144000" algn="l" defTabSz="685766" rtl="0" eaLnBrk="1" latinLnBrk="0" hangingPunct="1">
              <a:lnSpc>
                <a:spcPct val="100000"/>
              </a:lnSpc>
              <a:spcBef>
                <a:spcPts val="300"/>
              </a:spcBef>
              <a:spcAft>
                <a:spcPts val="0"/>
              </a:spcAft>
              <a:buFont typeface="DWS Sans Light" panose="020B0404020101010102" pitchFamily="34" charset="0"/>
              <a:buChar char="—"/>
              <a:defRPr sz="1000" kern="1200">
                <a:solidFill>
                  <a:schemeClr val="tx1"/>
                </a:solidFill>
                <a:latin typeface="+mn-lt"/>
                <a:ea typeface="+mn-ea"/>
                <a:cs typeface="+mn-cs"/>
              </a:defRPr>
            </a:lvl9pPr>
          </a:lstStyle>
          <a:p>
            <a:r>
              <a:rPr lang="it-IT" sz="900" dirty="0">
                <a:latin typeface="DWS Sans Light" panose="02010404010101010104" pitchFamily="50" charset="0"/>
                <a:cs typeface="DWS Sans Light" panose="02010404010101010104" pitchFamily="50" charset="0"/>
              </a:rPr>
              <a:t>Mercati azionari: al momento nessuno è a buon mercato</a:t>
            </a:r>
          </a:p>
        </p:txBody>
      </p:sp>
      <p:sp>
        <p:nvSpPr>
          <p:cNvPr id="182" name="Textplatzhalter 73"/>
          <p:cNvSpPr>
            <a:spLocks noGrp="1"/>
          </p:cNvSpPr>
          <p:nvPr>
            <p:ph type="body" sz="quarter" idx="4294967295"/>
          </p:nvPr>
        </p:nvSpPr>
        <p:spPr>
          <a:xfrm>
            <a:off x="735294" y="9246526"/>
            <a:ext cx="6350457" cy="152065"/>
          </a:xfrm>
        </p:spPr>
        <p:txBody>
          <a:bodyPr vert="horz" lIns="0" tIns="0" rIns="0" bIns="0" rtlCol="0">
            <a:normAutofit lnSpcReduction="10000"/>
          </a:bodyPr>
          <a:lstStyle/>
          <a:p>
            <a:r>
              <a:rPr lang="de-DE" b="0" dirty="0" err="1">
                <a:latin typeface="DWS Sans Light" panose="02010404010101010104" pitchFamily="50" charset="0"/>
                <a:cs typeface="DWS Sans Light" panose="02010404010101010104" pitchFamily="50" charset="0"/>
              </a:rPr>
              <a:t>Mercati</a:t>
            </a:r>
            <a:r>
              <a:rPr lang="de-DE" b="0" dirty="0">
                <a:latin typeface="DWS Sans Light" panose="02010404010101010104" pitchFamily="50" charset="0"/>
                <a:cs typeface="DWS Sans Light" panose="02010404010101010104" pitchFamily="50" charset="0"/>
              </a:rPr>
              <a:t> </a:t>
            </a:r>
            <a:r>
              <a:rPr lang="de-DE" b="0" dirty="0" err="1">
                <a:latin typeface="DWS Sans Light" panose="02010404010101010104" pitchFamily="50" charset="0"/>
                <a:cs typeface="DWS Sans Light" panose="02010404010101010104" pitchFamily="50" charset="0"/>
              </a:rPr>
              <a:t>emergenti</a:t>
            </a:r>
            <a:r>
              <a:rPr lang="de-DE" b="0" dirty="0">
                <a:latin typeface="DWS Sans Light" panose="02010404010101010104" pitchFamily="50" charset="0"/>
                <a:cs typeface="DWS Sans Light" panose="02010404010101010104" pitchFamily="50" charset="0"/>
              </a:rPr>
              <a:t>: </a:t>
            </a:r>
            <a:r>
              <a:rPr lang="it-IT" b="0" dirty="0">
                <a:solidFill>
                  <a:schemeClr val="bg2"/>
                </a:solidFill>
                <a:latin typeface="DWS Sans Light" panose="02010404010101010104" pitchFamily="50" charset="0"/>
                <a:cs typeface="DWS Sans Light" panose="02010404010101010104" pitchFamily="50" charset="0"/>
              </a:rPr>
              <a:t>Opportunità in America Latina e in Asia — sostenute da un dollaro debole</a:t>
            </a:r>
          </a:p>
          <a:p>
            <a:endParaRPr lang="de-DE" dirty="0">
              <a:solidFill>
                <a:schemeClr val="bg2"/>
              </a:solidFill>
              <a:latin typeface="DWS Sans Light" panose="02010404010101010104" pitchFamily="50" charset="0"/>
            </a:endParaRPr>
          </a:p>
        </p:txBody>
      </p:sp>
      <p:sp>
        <p:nvSpPr>
          <p:cNvPr id="142" name="Text Placeholder 6">
            <a:extLst>
              <a:ext uri="{FF2B5EF4-FFF2-40B4-BE49-F238E27FC236}">
                <a16:creationId xmlns:a16="http://schemas.microsoft.com/office/drawing/2014/main" id="{5E2BB9A5-6492-C3C9-3022-4290EACF4F77}"/>
              </a:ext>
            </a:extLst>
          </p:cNvPr>
          <p:cNvSpPr txBox="1">
            <a:spLocks/>
          </p:cNvSpPr>
          <p:nvPr/>
        </p:nvSpPr>
        <p:spPr bwMode="gray">
          <a:xfrm>
            <a:off x="3949370" y="2797800"/>
            <a:ext cx="3278169" cy="107722"/>
          </a:xfrm>
          <a:prstGeom prst="rect">
            <a:avLst/>
          </a:prstGeom>
          <a:noFill/>
        </p:spPr>
        <p:txBody>
          <a:bodyPr vert="horz" wrap="square" lIns="72000" tIns="0" rIns="72000" bIns="0" rtlCol="0">
            <a:spAutoFit/>
          </a:bodyPr>
          <a:lstStyle>
            <a:lvl1pPr marL="0" indent="0" algn="l" defTabSz="685766" rtl="0" eaLnBrk="1" latinLnBrk="0" hangingPunct="1">
              <a:lnSpc>
                <a:spcPct val="100000"/>
              </a:lnSpc>
              <a:spcBef>
                <a:spcPts val="1000"/>
              </a:spcBef>
              <a:spcAft>
                <a:spcPts val="0"/>
              </a:spcAft>
              <a:buFont typeface="Arial" pitchFamily="34" charset="0"/>
              <a:buNone/>
              <a:defRPr lang="en-US" sz="1000" b="0" kern="1200" cap="none" baseline="0" dirty="0">
                <a:solidFill>
                  <a:srgbClr val="939494"/>
                </a:solidFill>
                <a:latin typeface="+mn-lt"/>
                <a:ea typeface="+mn-ea"/>
                <a:cs typeface="Calibri" panose="020F0502020204030204" pitchFamily="34" charset="0"/>
              </a:defRPr>
            </a:lvl1pPr>
            <a:lvl2pPr marL="0" marR="0" indent="0" algn="l" defTabSz="685766" rtl="0" eaLnBrk="1" fontAlgn="auto" latinLnBrk="0" hangingPunct="1">
              <a:lnSpc>
                <a:spcPct val="100000"/>
              </a:lnSpc>
              <a:spcBef>
                <a:spcPts val="300"/>
              </a:spcBef>
              <a:spcAft>
                <a:spcPts val="0"/>
              </a:spcAft>
              <a:buClrTx/>
              <a:buSzTx/>
              <a:buFont typeface="Arial" pitchFamily="34" charset="0"/>
              <a:buNone/>
              <a:tabLst/>
              <a:defRPr sz="1000" kern="1200">
                <a:solidFill>
                  <a:srgbClr val="000000"/>
                </a:solidFill>
                <a:latin typeface="+mn-lt"/>
                <a:ea typeface="+mn-ea"/>
                <a:cs typeface="Calibri" panose="020F0502020204030204" pitchFamily="34" charset="0"/>
              </a:defRPr>
            </a:lvl2pPr>
            <a:lvl3pPr marL="137160" indent="-137160" algn="l" defTabSz="685766" rtl="0" eaLnBrk="1" latinLnBrk="0" hangingPunct="1">
              <a:lnSpc>
                <a:spcPct val="100000"/>
              </a:lnSpc>
              <a:spcBef>
                <a:spcPts val="300"/>
              </a:spcBef>
              <a:spcAft>
                <a:spcPts val="0"/>
              </a:spcAft>
              <a:buFont typeface="DWS Sans Light" panose="02010404010101010104" pitchFamily="50" charset="0"/>
              <a:buChar char="—"/>
              <a:defRPr sz="1000" kern="1200">
                <a:solidFill>
                  <a:srgbClr val="000000"/>
                </a:solidFill>
                <a:latin typeface="Calibri" panose="020F0502020204030204" pitchFamily="34" charset="0"/>
                <a:ea typeface="+mn-ea"/>
                <a:cs typeface="Calibri" panose="020F0502020204030204" pitchFamily="34" charset="0"/>
              </a:defRPr>
            </a:lvl3pPr>
            <a:lvl4pPr marL="274320" indent="-137160" algn="l" defTabSz="685766" rtl="0" eaLnBrk="1" latinLnBrk="0" hangingPunct="1">
              <a:lnSpc>
                <a:spcPct val="100000"/>
              </a:lnSpc>
              <a:spcBef>
                <a:spcPts val="300"/>
              </a:spcBef>
              <a:spcAft>
                <a:spcPts val="0"/>
              </a:spcAft>
              <a:buFont typeface="DWS Sans Light" panose="02010404010101010104" pitchFamily="50" charset="0"/>
              <a:buChar char="—"/>
              <a:defRPr sz="1000" kern="1200">
                <a:solidFill>
                  <a:srgbClr val="000000"/>
                </a:solidFill>
                <a:latin typeface="Calibri" panose="020F0502020204030204" pitchFamily="34" charset="0"/>
                <a:ea typeface="+mn-ea"/>
                <a:cs typeface="Calibri" panose="020F0502020204030204" pitchFamily="34" charset="0"/>
              </a:defRPr>
            </a:lvl4pPr>
            <a:lvl5pPr marL="411480" indent="-137160" algn="l" defTabSz="685766" rtl="0" eaLnBrk="1" latinLnBrk="0" hangingPunct="1">
              <a:lnSpc>
                <a:spcPct val="100000"/>
              </a:lnSpc>
              <a:spcBef>
                <a:spcPts val="300"/>
              </a:spcBef>
              <a:spcAft>
                <a:spcPts val="0"/>
              </a:spcAft>
              <a:buFont typeface="DWS Sans Light" panose="020B0404020101010102" pitchFamily="34" charset="0"/>
              <a:buChar char="—"/>
              <a:defRPr sz="1000" kern="1200">
                <a:solidFill>
                  <a:srgbClr val="000000"/>
                </a:solidFill>
                <a:latin typeface="Calibri" panose="020F0502020204030204" pitchFamily="34" charset="0"/>
                <a:ea typeface="+mn-ea"/>
                <a:cs typeface="Calibri" panose="020F0502020204030204" pitchFamily="34" charset="0"/>
              </a:defRPr>
            </a:lvl5pPr>
            <a:lvl6pPr marL="432000" indent="-144000" algn="l" defTabSz="685766" rtl="0" eaLnBrk="1" latinLnBrk="0" hangingPunct="1">
              <a:lnSpc>
                <a:spcPct val="100000"/>
              </a:lnSpc>
              <a:spcBef>
                <a:spcPts val="300"/>
              </a:spcBef>
              <a:spcAft>
                <a:spcPts val="0"/>
              </a:spcAft>
              <a:buFont typeface="DWS Sans Light" panose="020B0404020101010102" pitchFamily="34" charset="0"/>
              <a:buChar char="—"/>
              <a:defRPr sz="1000" kern="1200">
                <a:solidFill>
                  <a:schemeClr val="tx1"/>
                </a:solidFill>
                <a:latin typeface="+mn-lt"/>
                <a:ea typeface="+mn-ea"/>
                <a:cs typeface="+mn-cs"/>
              </a:defRPr>
            </a:lvl6pPr>
            <a:lvl7pPr marL="432000" indent="-144000" algn="l" defTabSz="685766" rtl="0" eaLnBrk="1" latinLnBrk="0" hangingPunct="1">
              <a:lnSpc>
                <a:spcPct val="100000"/>
              </a:lnSpc>
              <a:spcBef>
                <a:spcPts val="300"/>
              </a:spcBef>
              <a:spcAft>
                <a:spcPts val="0"/>
              </a:spcAft>
              <a:buFont typeface="DWS Sans Light" panose="020B0404020101010102" pitchFamily="34" charset="0"/>
              <a:buChar char="—"/>
              <a:defRPr sz="1000" kern="1200">
                <a:solidFill>
                  <a:schemeClr val="tx1"/>
                </a:solidFill>
                <a:latin typeface="+mn-lt"/>
                <a:ea typeface="+mn-ea"/>
                <a:cs typeface="+mn-cs"/>
              </a:defRPr>
            </a:lvl7pPr>
            <a:lvl8pPr marL="432000" indent="-144000" algn="l" defTabSz="685766" rtl="0" eaLnBrk="1" latinLnBrk="0" hangingPunct="1">
              <a:lnSpc>
                <a:spcPct val="100000"/>
              </a:lnSpc>
              <a:spcBef>
                <a:spcPts val="300"/>
              </a:spcBef>
              <a:spcAft>
                <a:spcPts val="0"/>
              </a:spcAft>
              <a:buFont typeface="DWS Sans Light" panose="020B0404020101010102" pitchFamily="34" charset="0"/>
              <a:buChar char="—"/>
              <a:defRPr sz="1000" kern="1200">
                <a:solidFill>
                  <a:schemeClr val="tx1"/>
                </a:solidFill>
                <a:latin typeface="+mn-lt"/>
                <a:ea typeface="+mn-ea"/>
                <a:cs typeface="+mn-cs"/>
              </a:defRPr>
            </a:lvl8pPr>
            <a:lvl9pPr marL="432000" indent="-144000" algn="l" defTabSz="685766" rtl="0" eaLnBrk="1" latinLnBrk="0" hangingPunct="1">
              <a:lnSpc>
                <a:spcPct val="100000"/>
              </a:lnSpc>
              <a:spcBef>
                <a:spcPts val="300"/>
              </a:spcBef>
              <a:spcAft>
                <a:spcPts val="0"/>
              </a:spcAft>
              <a:buFont typeface="DWS Sans Light" panose="020B0404020101010102" pitchFamily="34" charset="0"/>
              <a:buChar char="—"/>
              <a:defRPr sz="1000" kern="1200">
                <a:solidFill>
                  <a:schemeClr val="tx1"/>
                </a:solidFill>
                <a:latin typeface="+mn-lt"/>
                <a:ea typeface="+mn-ea"/>
                <a:cs typeface="+mn-cs"/>
              </a:defRPr>
            </a:lvl9pPr>
          </a:lstStyle>
          <a:p>
            <a:r>
              <a:rPr lang="it-IT" sz="700" dirty="0">
                <a:latin typeface="DWS Sans Light" panose="02010404010101010104" pitchFamily="50" charset="0"/>
                <a:cs typeface="DWS Sans Light" panose="02010404010101010104" pitchFamily="50" charset="0"/>
              </a:rPr>
              <a:t>Rapporto prezzo‑utili basato sugli utili attesi nei prossimi dodici mesi</a:t>
            </a:r>
          </a:p>
        </p:txBody>
      </p:sp>
      <p:sp>
        <p:nvSpPr>
          <p:cNvPr id="59" name="Textplatzhalter 63">
            <a:extLst>
              <a:ext uri="{FF2B5EF4-FFF2-40B4-BE49-F238E27FC236}">
                <a16:creationId xmlns:a16="http://schemas.microsoft.com/office/drawing/2014/main" id="{FEFD6C77-A957-C26D-8456-BBC925DE3038}"/>
              </a:ext>
            </a:extLst>
          </p:cNvPr>
          <p:cNvSpPr txBox="1">
            <a:spLocks/>
          </p:cNvSpPr>
          <p:nvPr/>
        </p:nvSpPr>
        <p:spPr bwMode="gray">
          <a:xfrm>
            <a:off x="4024019" y="954989"/>
            <a:ext cx="3326337" cy="1600631"/>
          </a:xfrm>
          <a:prstGeom prst="rect">
            <a:avLst/>
          </a:prstGeom>
        </p:spPr>
        <p:txBody>
          <a:bodyPr vert="horz" wrap="square" lIns="0" tIns="0" rIns="0" bIns="0" rtlCol="0">
            <a:spAutoFit/>
          </a:bodyPr>
          <a:lstStyle>
            <a:lvl1pPr algn="l" rtl="0" eaLnBrk="1" fontAlgn="base" hangingPunct="1">
              <a:lnSpc>
                <a:spcPct val="106000"/>
              </a:lnSpc>
              <a:spcBef>
                <a:spcPts val="800"/>
              </a:spcBef>
              <a:spcAft>
                <a:spcPts val="0"/>
              </a:spcAft>
              <a:defRPr sz="1000" b="1" kern="1200">
                <a:solidFill>
                  <a:schemeClr val="accent2"/>
                </a:solidFill>
                <a:latin typeface="+mn-lt"/>
                <a:ea typeface="ＭＳ Ｐゴシック" pitchFamily="-109" charset="-128"/>
                <a:cs typeface="ＭＳ Ｐゴシック" pitchFamily="-109" charset="-128"/>
              </a:defRPr>
            </a:lvl1pPr>
            <a:lvl2pPr marL="0" marR="0" indent="0" algn="l" defTabSz="914400" rtl="0" eaLnBrk="1" fontAlgn="base" latinLnBrk="0" hangingPunct="1">
              <a:lnSpc>
                <a:spcPct val="106000"/>
              </a:lnSpc>
              <a:spcBef>
                <a:spcPts val="200"/>
              </a:spcBef>
              <a:spcAft>
                <a:spcPts val="0"/>
              </a:spcAft>
              <a:buClrTx/>
              <a:buSzTx/>
              <a:buFontTx/>
              <a:buNone/>
              <a:tabLst/>
              <a:defRPr sz="900" kern="1200">
                <a:solidFill>
                  <a:schemeClr val="bg2"/>
                </a:solidFill>
                <a:latin typeface="+mn-lt"/>
                <a:ea typeface="ＭＳ Ｐゴシック" pitchFamily="-109" charset="-128"/>
              </a:defRPr>
            </a:lvl2pPr>
            <a:lvl3pPr marL="9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3pPr>
            <a:lvl4pPr marL="18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4pPr>
            <a:lvl5pPr marL="0" indent="0" algn="l" rtl="0" eaLnBrk="1" fontAlgn="base" hangingPunct="1">
              <a:lnSpc>
                <a:spcPct val="106000"/>
              </a:lnSpc>
              <a:spcBef>
                <a:spcPts val="1200"/>
              </a:spcBef>
              <a:spcAft>
                <a:spcPts val="0"/>
              </a:spcAft>
              <a:buFont typeface="Arial" panose="020B0604020202020204" pitchFamily="34" charset="0"/>
              <a:buNone/>
              <a:defRPr sz="10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r>
              <a:rPr lang="it-IT" sz="900" b="0" dirty="0">
                <a:solidFill>
                  <a:schemeClr val="bg2"/>
                </a:solidFill>
                <a:latin typeface="DWS Sans Light" panose="02010404010101010104" pitchFamily="50" charset="0"/>
                <a:cs typeface="DWS Sans Light" panose="02010404010101010104" pitchFamily="50" charset="0"/>
              </a:rPr>
              <a:t>Perché le azioni europee possano performare bene, è necessario osservare una crescita degli utili più robusta”, spiega Ronner. Il ciclo dell’intelligenza artificiale, aggiunge, è diventato più rischioso: richiede investimenti eccezionalmente elevati, che dovranno prima tradursi in rendimenti concreti. Questo rende nuovamente interessante volgere l’attenzione a segmenti di mercato valutati in linea con — o addirittura al di sotto — le loro medie storiche di lungo periodo. Il fatto che, a gennaio, siano stati i titoli dei settori energia, materiali, industriali e consumo a guidare il mercato, mentre i nomi tecnologici sono rimasti indietro, risulta perfettamente coerente con questo scenario.</a:t>
            </a:r>
          </a:p>
        </p:txBody>
      </p:sp>
      <p:grpSp>
        <p:nvGrpSpPr>
          <p:cNvPr id="7" name="Gruppieren 6">
            <a:extLst>
              <a:ext uri="{FF2B5EF4-FFF2-40B4-BE49-F238E27FC236}">
                <a16:creationId xmlns:a16="http://schemas.microsoft.com/office/drawing/2014/main" id="{94A5125C-72BF-2EC3-DBD3-02381C7BAE1F}"/>
              </a:ext>
            </a:extLst>
          </p:cNvPr>
          <p:cNvGrpSpPr/>
          <p:nvPr/>
        </p:nvGrpSpPr>
        <p:grpSpPr>
          <a:xfrm>
            <a:off x="654275" y="8426561"/>
            <a:ext cx="727063" cy="730588"/>
            <a:chOff x="3772484" y="1804403"/>
            <a:chExt cx="727062" cy="730588"/>
          </a:xfrm>
        </p:grpSpPr>
        <p:grpSp>
          <p:nvGrpSpPr>
            <p:cNvPr id="57" name="Group 56">
              <a:extLst>
                <a:ext uri="{FF2B5EF4-FFF2-40B4-BE49-F238E27FC236}">
                  <a16:creationId xmlns:a16="http://schemas.microsoft.com/office/drawing/2014/main" id="{1B2F0F70-B06E-61D1-E54F-7063D1056DCB}"/>
                </a:ext>
              </a:extLst>
            </p:cNvPr>
            <p:cNvGrpSpPr/>
            <p:nvPr/>
          </p:nvGrpSpPr>
          <p:grpSpPr>
            <a:xfrm>
              <a:off x="3772484" y="1804403"/>
              <a:ext cx="721894" cy="502078"/>
              <a:chOff x="311835" y="1425917"/>
              <a:chExt cx="1078092" cy="754851"/>
            </a:xfrm>
          </p:grpSpPr>
          <p:sp>
            <p:nvSpPr>
              <p:cNvPr id="91" name="Rechteck 272">
                <a:extLst>
                  <a:ext uri="{FF2B5EF4-FFF2-40B4-BE49-F238E27FC236}">
                    <a16:creationId xmlns:a16="http://schemas.microsoft.com/office/drawing/2014/main" id="{1072A38D-4F19-E79A-25C6-E4EB795F22D0}"/>
                  </a:ext>
                </a:extLst>
              </p:cNvPr>
              <p:cNvSpPr/>
              <p:nvPr/>
            </p:nvSpPr>
            <p:spPr>
              <a:xfrm>
                <a:off x="311835" y="1836987"/>
                <a:ext cx="1078092" cy="343781"/>
              </a:xfrm>
              <a:prstGeom prst="rect">
                <a:avLst/>
              </a:prstGeom>
              <a:noFill/>
              <a:ln w="25400" cap="flat" cmpd="sng" algn="ctr">
                <a:noFill/>
                <a:prstDash val="solid"/>
              </a:ln>
              <a:effectLst/>
            </p:spPr>
            <p:txBody>
              <a:bodyPr lIns="72000" tIns="72000" rIns="72000" bIns="72000" rtlCol="0" anchor="ctr"/>
              <a:lstStyle/>
              <a:p>
                <a:pPr algn="ctr" defTabSz="914400" fontAlgn="auto">
                  <a:spcBef>
                    <a:spcPts val="600"/>
                  </a:spcBef>
                  <a:spcAft>
                    <a:spcPts val="0"/>
                  </a:spcAft>
                  <a:buClr>
                    <a:srgbClr val="FFFFFF"/>
                  </a:buClr>
                  <a:defRPr/>
                </a:pPr>
                <a:r>
                  <a:rPr lang="en-GB" sz="700" dirty="0">
                    <a:solidFill>
                      <a:schemeClr val="bg2"/>
                    </a:solidFill>
                    <a:latin typeface="DWS Sans Light" panose="02010404010101010104" pitchFamily="50" charset="0"/>
                    <a:cs typeface="DWS Sans Light" panose="02010404010101010104" pitchFamily="50" charset="0"/>
                  </a:rPr>
                  <a:t>breve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p:txBody>
          </p:sp>
          <p:grpSp>
            <p:nvGrpSpPr>
              <p:cNvPr id="92" name="Gruppieren 348">
                <a:extLst>
                  <a:ext uri="{FF2B5EF4-FFF2-40B4-BE49-F238E27FC236}">
                    <a16:creationId xmlns:a16="http://schemas.microsoft.com/office/drawing/2014/main" id="{7F2809EC-FABC-DDDC-634F-80473CEA8D34}"/>
                  </a:ext>
                </a:extLst>
              </p:cNvPr>
              <p:cNvGrpSpPr/>
              <p:nvPr/>
            </p:nvGrpSpPr>
            <p:grpSpPr>
              <a:xfrm rot="3291935">
                <a:off x="729802" y="1759372"/>
                <a:ext cx="84660" cy="223193"/>
                <a:chOff x="1662113" y="2062231"/>
                <a:chExt cx="192088" cy="506413"/>
              </a:xfrm>
            </p:grpSpPr>
            <p:grpSp>
              <p:nvGrpSpPr>
                <p:cNvPr id="98" name="Gruppieren 349">
                  <a:extLst>
                    <a:ext uri="{FF2B5EF4-FFF2-40B4-BE49-F238E27FC236}">
                      <a16:creationId xmlns:a16="http://schemas.microsoft.com/office/drawing/2014/main" id="{6D2D8454-32C3-719C-020A-383088D5A27C}"/>
                    </a:ext>
                  </a:extLst>
                </p:cNvPr>
                <p:cNvGrpSpPr/>
                <p:nvPr/>
              </p:nvGrpSpPr>
              <p:grpSpPr>
                <a:xfrm>
                  <a:off x="1700213" y="2089152"/>
                  <a:ext cx="120650" cy="122238"/>
                  <a:chOff x="1700213" y="2089152"/>
                  <a:chExt cx="120650" cy="122238"/>
                </a:xfrm>
              </p:grpSpPr>
              <p:sp>
                <p:nvSpPr>
                  <p:cNvPr id="105" name="Freeform 12">
                    <a:extLst>
                      <a:ext uri="{FF2B5EF4-FFF2-40B4-BE49-F238E27FC236}">
                        <a16:creationId xmlns:a16="http://schemas.microsoft.com/office/drawing/2014/main" id="{43AAD453-F792-1551-DC01-01D428CF1A31}"/>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106" name="Oval 13">
                    <a:extLst>
                      <a:ext uri="{FF2B5EF4-FFF2-40B4-BE49-F238E27FC236}">
                        <a16:creationId xmlns:a16="http://schemas.microsoft.com/office/drawing/2014/main" id="{68FA7DCD-8A67-3D5B-A1B4-30453B5A1E63}"/>
                      </a:ext>
                    </a:extLst>
                  </p:cNvPr>
                  <p:cNvSpPr>
                    <a:spLocks noChangeArrowheads="1"/>
                  </p:cNvSpPr>
                  <p:nvPr/>
                </p:nvSpPr>
                <p:spPr bwMode="auto">
                  <a:xfrm>
                    <a:off x="1730375" y="2120902"/>
                    <a:ext cx="60325" cy="60325"/>
                  </a:xfrm>
                  <a:prstGeom prst="ellipse">
                    <a:avLst/>
                  </a:prstGeom>
                  <a:solidFill>
                    <a:srgbClr val="6D828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grpSp>
            <p:grpSp>
              <p:nvGrpSpPr>
                <p:cNvPr id="99" name="Gruppieren 350">
                  <a:extLst>
                    <a:ext uri="{FF2B5EF4-FFF2-40B4-BE49-F238E27FC236}">
                      <a16:creationId xmlns:a16="http://schemas.microsoft.com/office/drawing/2014/main" id="{34D0AAD8-0DBB-2DAC-759C-326A1861D8BC}"/>
                    </a:ext>
                  </a:extLst>
                </p:cNvPr>
                <p:cNvGrpSpPr/>
                <p:nvPr/>
              </p:nvGrpSpPr>
              <p:grpSpPr>
                <a:xfrm flipV="1">
                  <a:off x="1662113" y="2062231"/>
                  <a:ext cx="192088" cy="506413"/>
                  <a:chOff x="1662113" y="1735139"/>
                  <a:chExt cx="192088" cy="506413"/>
                </a:xfrm>
                <a:noFill/>
              </p:grpSpPr>
              <p:sp>
                <p:nvSpPr>
                  <p:cNvPr id="100" name="Freeform 10">
                    <a:extLst>
                      <a:ext uri="{FF2B5EF4-FFF2-40B4-BE49-F238E27FC236}">
                        <a16:creationId xmlns:a16="http://schemas.microsoft.com/office/drawing/2014/main" id="{B93493D7-DAE8-E995-26EC-23B3F7CD1B96}"/>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101" name="Freeform 11">
                    <a:extLst>
                      <a:ext uri="{FF2B5EF4-FFF2-40B4-BE49-F238E27FC236}">
                        <a16:creationId xmlns:a16="http://schemas.microsoft.com/office/drawing/2014/main" id="{F44B6054-B7DA-AB06-1230-5B0D1A8EFCD4}"/>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102" name="Freeform 12">
                    <a:extLst>
                      <a:ext uri="{FF2B5EF4-FFF2-40B4-BE49-F238E27FC236}">
                        <a16:creationId xmlns:a16="http://schemas.microsoft.com/office/drawing/2014/main" id="{ECAE2ED2-BB2A-A8D9-9775-31996C100808}"/>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103" name="Oval 13">
                    <a:extLst>
                      <a:ext uri="{FF2B5EF4-FFF2-40B4-BE49-F238E27FC236}">
                        <a16:creationId xmlns:a16="http://schemas.microsoft.com/office/drawing/2014/main" id="{5A1E6755-70B5-FF97-FB0C-2271746F0526}"/>
                      </a:ext>
                    </a:extLst>
                  </p:cNvPr>
                  <p:cNvSpPr>
                    <a:spLocks noChangeArrowheads="1"/>
                  </p:cNvSpPr>
                  <p:nvPr/>
                </p:nvSpPr>
                <p:spPr bwMode="auto">
                  <a:xfrm>
                    <a:off x="1730375" y="2120902"/>
                    <a:ext cx="60325" cy="603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grpSp>
          </p:grpSp>
          <p:grpSp>
            <p:nvGrpSpPr>
              <p:cNvPr id="93" name="Gruppieren 359">
                <a:extLst>
                  <a:ext uri="{FF2B5EF4-FFF2-40B4-BE49-F238E27FC236}">
                    <a16:creationId xmlns:a16="http://schemas.microsoft.com/office/drawing/2014/main" id="{F093FD58-3F3C-2FF4-E32E-0C15E2255E64}"/>
                  </a:ext>
                </a:extLst>
              </p:cNvPr>
              <p:cNvGrpSpPr/>
              <p:nvPr/>
            </p:nvGrpSpPr>
            <p:grpSpPr>
              <a:xfrm>
                <a:off x="431540" y="1425917"/>
                <a:ext cx="817200" cy="412452"/>
                <a:chOff x="431540" y="1425917"/>
                <a:chExt cx="817200" cy="412452"/>
              </a:xfrm>
            </p:grpSpPr>
            <p:sp>
              <p:nvSpPr>
                <p:cNvPr id="94" name="Freeform 11">
                  <a:extLst>
                    <a:ext uri="{FF2B5EF4-FFF2-40B4-BE49-F238E27FC236}">
                      <a16:creationId xmlns:a16="http://schemas.microsoft.com/office/drawing/2014/main" id="{34CEC776-CE18-5051-CB48-6DED7F194DF1}"/>
                    </a:ext>
                  </a:extLst>
                </p:cNvPr>
                <p:cNvSpPr>
                  <a:spLocks/>
                </p:cNvSpPr>
                <p:nvPr/>
              </p:nvSpPr>
              <p:spPr bwMode="auto">
                <a:xfrm>
                  <a:off x="431540" y="1487276"/>
                  <a:ext cx="246261" cy="351093"/>
                </a:xfrm>
                <a:custGeom>
                  <a:avLst/>
                  <a:gdLst>
                    <a:gd name="T0" fmla="*/ 160 w 378"/>
                    <a:gd name="T1" fmla="*/ 534 h 534"/>
                    <a:gd name="T2" fmla="*/ 378 w 378"/>
                    <a:gd name="T3" fmla="*/ 139 h 534"/>
                    <a:gd name="T4" fmla="*/ 298 w 378"/>
                    <a:gd name="T5" fmla="*/ 0 h 534"/>
                    <a:gd name="T6" fmla="*/ 0 w 378"/>
                    <a:gd name="T7" fmla="*/ 534 h 534"/>
                    <a:gd name="T8" fmla="*/ 160 w 378"/>
                    <a:gd name="T9" fmla="*/ 534 h 534"/>
                  </a:gdLst>
                  <a:ahLst/>
                  <a:cxnLst>
                    <a:cxn ang="0">
                      <a:pos x="T0" y="T1"/>
                    </a:cxn>
                    <a:cxn ang="0">
                      <a:pos x="T2" y="T3"/>
                    </a:cxn>
                    <a:cxn ang="0">
                      <a:pos x="T4" y="T5"/>
                    </a:cxn>
                    <a:cxn ang="0">
                      <a:pos x="T6" y="T7"/>
                    </a:cxn>
                    <a:cxn ang="0">
                      <a:pos x="T8" y="T9"/>
                    </a:cxn>
                  </a:cxnLst>
                  <a:rect l="0" t="0" r="r" b="b"/>
                  <a:pathLst>
                    <a:path w="378" h="534">
                      <a:moveTo>
                        <a:pt x="160" y="534"/>
                      </a:moveTo>
                      <a:cubicBezTo>
                        <a:pt x="160" y="367"/>
                        <a:pt x="247" y="221"/>
                        <a:pt x="378" y="139"/>
                      </a:cubicBezTo>
                      <a:cubicBezTo>
                        <a:pt x="298" y="0"/>
                        <a:pt x="298" y="0"/>
                        <a:pt x="298" y="0"/>
                      </a:cubicBezTo>
                      <a:cubicBezTo>
                        <a:pt x="119" y="111"/>
                        <a:pt x="0" y="308"/>
                        <a:pt x="0" y="534"/>
                      </a:cubicBezTo>
                      <a:lnTo>
                        <a:pt x="160" y="534"/>
                      </a:ln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95" name="Freeform 12">
                  <a:extLst>
                    <a:ext uri="{FF2B5EF4-FFF2-40B4-BE49-F238E27FC236}">
                      <a16:creationId xmlns:a16="http://schemas.microsoft.com/office/drawing/2014/main" id="{433F1C4F-6A33-57FD-7E96-F2F71DFF26FE}"/>
                    </a:ext>
                  </a:extLst>
                </p:cNvPr>
                <p:cNvSpPr>
                  <a:spLocks/>
                </p:cNvSpPr>
                <p:nvPr/>
              </p:nvSpPr>
              <p:spPr bwMode="auto">
                <a:xfrm>
                  <a:off x="645883" y="1425917"/>
                  <a:ext cx="388514" cy="140878"/>
                </a:xfrm>
                <a:custGeom>
                  <a:avLst/>
                  <a:gdLst>
                    <a:gd name="T0" fmla="*/ 80 w 596"/>
                    <a:gd name="T1" fmla="*/ 214 h 214"/>
                    <a:gd name="T2" fmla="*/ 298 w 596"/>
                    <a:gd name="T3" fmla="*/ 160 h 214"/>
                    <a:gd name="T4" fmla="*/ 516 w 596"/>
                    <a:gd name="T5" fmla="*/ 214 h 214"/>
                    <a:gd name="T6" fmla="*/ 596 w 596"/>
                    <a:gd name="T7" fmla="*/ 75 h 214"/>
                    <a:gd name="T8" fmla="*/ 298 w 596"/>
                    <a:gd name="T9" fmla="*/ 0 h 214"/>
                    <a:gd name="T10" fmla="*/ 0 w 596"/>
                    <a:gd name="T11" fmla="*/ 75 h 214"/>
                    <a:gd name="T12" fmla="*/ 80 w 596"/>
                    <a:gd name="T13" fmla="*/ 214 h 214"/>
                  </a:gdLst>
                  <a:ahLst/>
                  <a:cxnLst>
                    <a:cxn ang="0">
                      <a:pos x="T0" y="T1"/>
                    </a:cxn>
                    <a:cxn ang="0">
                      <a:pos x="T2" y="T3"/>
                    </a:cxn>
                    <a:cxn ang="0">
                      <a:pos x="T4" y="T5"/>
                    </a:cxn>
                    <a:cxn ang="0">
                      <a:pos x="T6" y="T7"/>
                    </a:cxn>
                    <a:cxn ang="0">
                      <a:pos x="T8" y="T9"/>
                    </a:cxn>
                    <a:cxn ang="0">
                      <a:pos x="T10" y="T11"/>
                    </a:cxn>
                    <a:cxn ang="0">
                      <a:pos x="T12" y="T13"/>
                    </a:cxn>
                  </a:cxnLst>
                  <a:rect l="0" t="0" r="r" b="b"/>
                  <a:pathLst>
                    <a:path w="596" h="214">
                      <a:moveTo>
                        <a:pt x="80" y="214"/>
                      </a:moveTo>
                      <a:cubicBezTo>
                        <a:pt x="145" y="179"/>
                        <a:pt x="219" y="160"/>
                        <a:pt x="298" y="160"/>
                      </a:cubicBezTo>
                      <a:cubicBezTo>
                        <a:pt x="377" y="160"/>
                        <a:pt x="451" y="179"/>
                        <a:pt x="516" y="214"/>
                      </a:cubicBezTo>
                      <a:cubicBezTo>
                        <a:pt x="596" y="75"/>
                        <a:pt x="596" y="75"/>
                        <a:pt x="596" y="75"/>
                      </a:cubicBezTo>
                      <a:cubicBezTo>
                        <a:pt x="507" y="27"/>
                        <a:pt x="406" y="0"/>
                        <a:pt x="298" y="0"/>
                      </a:cubicBezTo>
                      <a:cubicBezTo>
                        <a:pt x="190" y="0"/>
                        <a:pt x="89" y="27"/>
                        <a:pt x="0" y="75"/>
                      </a:cubicBezTo>
                      <a:lnTo>
                        <a:pt x="80" y="214"/>
                      </a:lnTo>
                      <a:close/>
                    </a:path>
                  </a:pathLst>
                </a:custGeom>
                <a:solidFill>
                  <a:srgbClr val="E8C64D"/>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96" name="Freeform 13">
                  <a:extLst>
                    <a:ext uri="{FF2B5EF4-FFF2-40B4-BE49-F238E27FC236}">
                      <a16:creationId xmlns:a16="http://schemas.microsoft.com/office/drawing/2014/main" id="{6DCC56B9-5963-5D7A-C54A-F9EE6843F95A}"/>
                    </a:ext>
                  </a:extLst>
                </p:cNvPr>
                <p:cNvSpPr>
                  <a:spLocks/>
                </p:cNvSpPr>
                <p:nvPr/>
              </p:nvSpPr>
              <p:spPr bwMode="auto">
                <a:xfrm>
                  <a:off x="1002479" y="1487276"/>
                  <a:ext cx="246261" cy="351093"/>
                </a:xfrm>
                <a:custGeom>
                  <a:avLst/>
                  <a:gdLst>
                    <a:gd name="T0" fmla="*/ 80 w 378"/>
                    <a:gd name="T1" fmla="*/ 0 h 534"/>
                    <a:gd name="T2" fmla="*/ 0 w 378"/>
                    <a:gd name="T3" fmla="*/ 139 h 534"/>
                    <a:gd name="T4" fmla="*/ 218 w 378"/>
                    <a:gd name="T5" fmla="*/ 534 h 534"/>
                    <a:gd name="T6" fmla="*/ 378 w 378"/>
                    <a:gd name="T7" fmla="*/ 534 h 534"/>
                    <a:gd name="T8" fmla="*/ 80 w 378"/>
                    <a:gd name="T9" fmla="*/ 0 h 534"/>
                  </a:gdLst>
                  <a:ahLst/>
                  <a:cxnLst>
                    <a:cxn ang="0">
                      <a:pos x="T0" y="T1"/>
                    </a:cxn>
                    <a:cxn ang="0">
                      <a:pos x="T2" y="T3"/>
                    </a:cxn>
                    <a:cxn ang="0">
                      <a:pos x="T4" y="T5"/>
                    </a:cxn>
                    <a:cxn ang="0">
                      <a:pos x="T6" y="T7"/>
                    </a:cxn>
                    <a:cxn ang="0">
                      <a:pos x="T8" y="T9"/>
                    </a:cxn>
                  </a:cxnLst>
                  <a:rect l="0" t="0" r="r" b="b"/>
                  <a:pathLst>
                    <a:path w="378" h="534">
                      <a:moveTo>
                        <a:pt x="80" y="0"/>
                      </a:moveTo>
                      <a:cubicBezTo>
                        <a:pt x="0" y="139"/>
                        <a:pt x="0" y="139"/>
                        <a:pt x="0" y="139"/>
                      </a:cubicBezTo>
                      <a:cubicBezTo>
                        <a:pt x="131" y="221"/>
                        <a:pt x="218" y="367"/>
                        <a:pt x="218" y="534"/>
                      </a:cubicBezTo>
                      <a:cubicBezTo>
                        <a:pt x="378" y="534"/>
                        <a:pt x="378" y="534"/>
                        <a:pt x="378" y="534"/>
                      </a:cubicBezTo>
                      <a:cubicBezTo>
                        <a:pt x="378" y="308"/>
                        <a:pt x="259" y="111"/>
                        <a:pt x="80" y="0"/>
                      </a:cubicBez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97" name="Freihandform: Form 363">
                  <a:extLst>
                    <a:ext uri="{FF2B5EF4-FFF2-40B4-BE49-F238E27FC236}">
                      <a16:creationId xmlns:a16="http://schemas.microsoft.com/office/drawing/2014/main" id="{B008C6C7-5EC1-2EA7-D441-FA1F1036B7FB}"/>
                    </a:ext>
                  </a:extLst>
                </p:cNvPr>
                <p:cNvSpPr>
                  <a:spLocks/>
                </p:cNvSpPr>
                <p:nvPr/>
              </p:nvSpPr>
              <p:spPr bwMode="auto">
                <a:xfrm>
                  <a:off x="556734" y="1552212"/>
                  <a:ext cx="566812" cy="286157"/>
                </a:xfrm>
                <a:custGeom>
                  <a:avLst/>
                  <a:gdLst>
                    <a:gd name="connsiteX0" fmla="*/ 283406 w 566812"/>
                    <a:gd name="connsiteY0" fmla="*/ 0 h 286157"/>
                    <a:gd name="connsiteX1" fmla="*/ 566812 w 566812"/>
                    <a:gd name="connsiteY1" fmla="*/ 286157 h 286157"/>
                    <a:gd name="connsiteX2" fmla="*/ 506571 w 566812"/>
                    <a:gd name="connsiteY2" fmla="*/ 286157 h 286157"/>
                    <a:gd name="connsiteX3" fmla="*/ 283406 w 566812"/>
                    <a:gd name="connsiteY3" fmla="*/ 60826 h 286157"/>
                    <a:gd name="connsiteX4" fmla="*/ 60241 w 566812"/>
                    <a:gd name="connsiteY4" fmla="*/ 286157 h 286157"/>
                    <a:gd name="connsiteX5" fmla="*/ 0 w 566812"/>
                    <a:gd name="connsiteY5" fmla="*/ 286157 h 286157"/>
                    <a:gd name="connsiteX6" fmla="*/ 283406 w 566812"/>
                    <a:gd name="connsiteY6" fmla="*/ 0 h 28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812" h="286157">
                      <a:moveTo>
                        <a:pt x="283406" y="0"/>
                      </a:moveTo>
                      <a:cubicBezTo>
                        <a:pt x="439768" y="0"/>
                        <a:pt x="566812" y="128277"/>
                        <a:pt x="566812" y="286157"/>
                      </a:cubicBezTo>
                      <a:lnTo>
                        <a:pt x="506571" y="286157"/>
                      </a:lnTo>
                      <a:cubicBezTo>
                        <a:pt x="506571" y="161837"/>
                        <a:pt x="406532" y="60826"/>
                        <a:pt x="283406" y="60826"/>
                      </a:cubicBezTo>
                      <a:cubicBezTo>
                        <a:pt x="160281" y="60826"/>
                        <a:pt x="60241" y="161837"/>
                        <a:pt x="60241" y="286157"/>
                      </a:cubicBezTo>
                      <a:lnTo>
                        <a:pt x="0" y="286157"/>
                      </a:lnTo>
                      <a:cubicBezTo>
                        <a:pt x="0" y="128277"/>
                        <a:pt x="127044" y="0"/>
                        <a:pt x="283406" y="0"/>
                      </a:cubicBez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grpSp>
        </p:grpSp>
        <p:grpSp>
          <p:nvGrpSpPr>
            <p:cNvPr id="58" name="Group 425">
              <a:extLst>
                <a:ext uri="{FF2B5EF4-FFF2-40B4-BE49-F238E27FC236}">
                  <a16:creationId xmlns:a16="http://schemas.microsoft.com/office/drawing/2014/main" id="{AAE087B1-F0B3-29E0-CC1D-1B0C2B6EB7BC}"/>
                </a:ext>
              </a:extLst>
            </p:cNvPr>
            <p:cNvGrpSpPr/>
            <p:nvPr/>
          </p:nvGrpSpPr>
          <p:grpSpPr>
            <a:xfrm>
              <a:off x="3778597" y="2316635"/>
              <a:ext cx="720949" cy="218356"/>
              <a:chOff x="522651" y="3651542"/>
              <a:chExt cx="872707" cy="271635"/>
            </a:xfrm>
          </p:grpSpPr>
          <p:sp>
            <p:nvSpPr>
              <p:cNvPr id="60" name="Rechteck 273">
                <a:extLst>
                  <a:ext uri="{FF2B5EF4-FFF2-40B4-BE49-F238E27FC236}">
                    <a16:creationId xmlns:a16="http://schemas.microsoft.com/office/drawing/2014/main" id="{A0CCE0DA-8489-87FC-B874-2942F7B3C49A}"/>
                  </a:ext>
                </a:extLst>
              </p:cNvPr>
              <p:cNvSpPr/>
              <p:nvPr/>
            </p:nvSpPr>
            <p:spPr>
              <a:xfrm>
                <a:off x="522651" y="3747222"/>
                <a:ext cx="872707" cy="1759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bg1"/>
                  </a:buClr>
                </a:pPr>
                <a:r>
                  <a:rPr lang="en-GB" sz="700" dirty="0" err="1">
                    <a:solidFill>
                      <a:schemeClr val="bg2"/>
                    </a:solidFill>
                    <a:latin typeface="DWS Sans Light" panose="02010404010101010104" pitchFamily="50" charset="0"/>
                    <a:cs typeface="DWS Sans Light" panose="02010404010101010104" pitchFamily="50" charset="0"/>
                  </a:rPr>
                  <a:t>lungo</a:t>
                </a:r>
                <a:r>
                  <a:rPr lang="en-GB" sz="700" dirty="0">
                    <a:solidFill>
                      <a:schemeClr val="bg2"/>
                    </a:solidFill>
                    <a:latin typeface="DWS Sans Light" panose="02010404010101010104" pitchFamily="50" charset="0"/>
                    <a:cs typeface="DWS Sans Light" panose="02010404010101010104" pitchFamily="50" charset="0"/>
                  </a:rPr>
                  <a:t>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p:txBody>
          </p:sp>
          <p:sp>
            <p:nvSpPr>
              <p:cNvPr id="61" name="Rectangle 428">
                <a:extLst>
                  <a:ext uri="{FF2B5EF4-FFF2-40B4-BE49-F238E27FC236}">
                    <a16:creationId xmlns:a16="http://schemas.microsoft.com/office/drawing/2014/main" id="{643D47C0-FAD7-8AD6-45BA-4CB30124A353}"/>
                  </a:ext>
                </a:extLst>
              </p:cNvPr>
              <p:cNvSpPr/>
              <p:nvPr/>
            </p:nvSpPr>
            <p:spPr bwMode="auto">
              <a:xfrm>
                <a:off x="612278" y="3651542"/>
                <a:ext cx="205200" cy="84035"/>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sp>
            <p:nvSpPr>
              <p:cNvPr id="72" name="Rectangle 429">
                <a:extLst>
                  <a:ext uri="{FF2B5EF4-FFF2-40B4-BE49-F238E27FC236}">
                    <a16:creationId xmlns:a16="http://schemas.microsoft.com/office/drawing/2014/main" id="{97C5E1CC-3113-E774-07A9-BAA042A7FBBA}"/>
                  </a:ext>
                </a:extLst>
              </p:cNvPr>
              <p:cNvSpPr/>
              <p:nvPr/>
            </p:nvSpPr>
            <p:spPr bwMode="auto">
              <a:xfrm>
                <a:off x="1069462" y="3651542"/>
                <a:ext cx="205200" cy="84035"/>
              </a:xfrm>
              <a:prstGeom prst="rect">
                <a:avLst/>
              </a:prstGeom>
              <a:solidFill>
                <a:srgbClr val="AFCA0B"/>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sp>
            <p:nvSpPr>
              <p:cNvPr id="90" name="Rectangle 430">
                <a:extLst>
                  <a:ext uri="{FF2B5EF4-FFF2-40B4-BE49-F238E27FC236}">
                    <a16:creationId xmlns:a16="http://schemas.microsoft.com/office/drawing/2014/main" id="{651308E2-793B-0CD9-7B81-9B6231CC4317}"/>
                  </a:ext>
                </a:extLst>
              </p:cNvPr>
              <p:cNvSpPr/>
              <p:nvPr/>
            </p:nvSpPr>
            <p:spPr bwMode="auto">
              <a:xfrm>
                <a:off x="840869" y="3651542"/>
                <a:ext cx="205200" cy="84035"/>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grpSp>
      </p:grpSp>
      <p:grpSp>
        <p:nvGrpSpPr>
          <p:cNvPr id="6" name="Gruppieren 5">
            <a:extLst>
              <a:ext uri="{FF2B5EF4-FFF2-40B4-BE49-F238E27FC236}">
                <a16:creationId xmlns:a16="http://schemas.microsoft.com/office/drawing/2014/main" id="{D159E209-149D-429B-039C-8ADB71ECF554}"/>
              </a:ext>
            </a:extLst>
          </p:cNvPr>
          <p:cNvGrpSpPr/>
          <p:nvPr/>
        </p:nvGrpSpPr>
        <p:grpSpPr>
          <a:xfrm>
            <a:off x="642857" y="6560590"/>
            <a:ext cx="770246" cy="726566"/>
            <a:chOff x="501753" y="2949577"/>
            <a:chExt cx="770246" cy="726566"/>
          </a:xfrm>
        </p:grpSpPr>
        <p:grpSp>
          <p:nvGrpSpPr>
            <p:cNvPr id="9" name="Group 52">
              <a:extLst>
                <a:ext uri="{FF2B5EF4-FFF2-40B4-BE49-F238E27FC236}">
                  <a16:creationId xmlns:a16="http://schemas.microsoft.com/office/drawing/2014/main" id="{768EDD8C-60D8-6DF8-24D2-3AE9EDAA2AC8}"/>
                </a:ext>
              </a:extLst>
            </p:cNvPr>
            <p:cNvGrpSpPr/>
            <p:nvPr/>
          </p:nvGrpSpPr>
          <p:grpSpPr>
            <a:xfrm>
              <a:off x="561584" y="2949577"/>
              <a:ext cx="705724" cy="510262"/>
              <a:chOff x="1354628" y="1425917"/>
              <a:chExt cx="1053943" cy="761957"/>
            </a:xfrm>
          </p:grpSpPr>
          <p:sp>
            <p:nvSpPr>
              <p:cNvPr id="15" name="Rechteck 273">
                <a:extLst>
                  <a:ext uri="{FF2B5EF4-FFF2-40B4-BE49-F238E27FC236}">
                    <a16:creationId xmlns:a16="http://schemas.microsoft.com/office/drawing/2014/main" id="{C3D31E0C-AF5B-F3A8-F22D-537680CB8330}"/>
                  </a:ext>
                </a:extLst>
              </p:cNvPr>
              <p:cNvSpPr/>
              <p:nvPr/>
            </p:nvSpPr>
            <p:spPr>
              <a:xfrm>
                <a:off x="1354628" y="1966472"/>
                <a:ext cx="1053943" cy="2214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bg1"/>
                  </a:buClr>
                </a:pPr>
                <a:r>
                  <a:rPr lang="en-GB" sz="700" dirty="0">
                    <a:solidFill>
                      <a:schemeClr val="bg2"/>
                    </a:solidFill>
                    <a:latin typeface="DWS Sans Light" panose="02010404010101010104" pitchFamily="50" charset="0"/>
                    <a:cs typeface="DWS Sans Light" panose="02010404010101010104" pitchFamily="50" charset="0"/>
                  </a:rPr>
                  <a:t>breve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a:p>
                <a:pPr algn="ctr">
                  <a:spcBef>
                    <a:spcPts val="600"/>
                  </a:spcBef>
                  <a:buClr>
                    <a:schemeClr val="bg1"/>
                  </a:buClr>
                </a:pPr>
                <a:endParaRPr lang="de-DE" sz="700" dirty="0">
                  <a:solidFill>
                    <a:schemeClr val="bg2"/>
                  </a:solidFill>
                  <a:latin typeface="DWS Sans Light" panose="02010404010101010104" pitchFamily="50" charset="0"/>
                  <a:cs typeface="DWS Sans Light" panose="02010404010101010104" pitchFamily="50" charset="0"/>
                </a:endParaRPr>
              </a:p>
            </p:txBody>
          </p:sp>
          <p:grpSp>
            <p:nvGrpSpPr>
              <p:cNvPr id="16" name="Gruppieren 364">
                <a:extLst>
                  <a:ext uri="{FF2B5EF4-FFF2-40B4-BE49-F238E27FC236}">
                    <a16:creationId xmlns:a16="http://schemas.microsoft.com/office/drawing/2014/main" id="{E88A93A5-E458-EDF9-656E-45AFF3E2ABAA}"/>
                  </a:ext>
                </a:extLst>
              </p:cNvPr>
              <p:cNvGrpSpPr/>
              <p:nvPr/>
            </p:nvGrpSpPr>
            <p:grpSpPr>
              <a:xfrm>
                <a:off x="1787544" y="1645811"/>
                <a:ext cx="84660" cy="367354"/>
                <a:chOff x="1662113" y="1735139"/>
                <a:chExt cx="192088" cy="833505"/>
              </a:xfrm>
            </p:grpSpPr>
            <p:grpSp>
              <p:nvGrpSpPr>
                <p:cNvPr id="22" name="Gruppieren 365">
                  <a:extLst>
                    <a:ext uri="{FF2B5EF4-FFF2-40B4-BE49-F238E27FC236}">
                      <a16:creationId xmlns:a16="http://schemas.microsoft.com/office/drawing/2014/main" id="{76BFFE7B-C62B-0A8E-86C9-C3E3A51A1DB3}"/>
                    </a:ext>
                  </a:extLst>
                </p:cNvPr>
                <p:cNvGrpSpPr/>
                <p:nvPr/>
              </p:nvGrpSpPr>
              <p:grpSpPr>
                <a:xfrm>
                  <a:off x="1662113" y="1735139"/>
                  <a:ext cx="192088" cy="506413"/>
                  <a:chOff x="1662113" y="1735139"/>
                  <a:chExt cx="192088" cy="506413"/>
                </a:xfrm>
              </p:grpSpPr>
              <p:sp>
                <p:nvSpPr>
                  <p:cNvPr id="28" name="Freeform 10">
                    <a:extLst>
                      <a:ext uri="{FF2B5EF4-FFF2-40B4-BE49-F238E27FC236}">
                        <a16:creationId xmlns:a16="http://schemas.microsoft.com/office/drawing/2014/main" id="{70E79B1F-DA4B-1A1C-8204-343E9BE8CAA1}"/>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solidFill>
                    <a:srgbClr val="B7C5C8"/>
                  </a:solid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29" name="Freeform 12">
                    <a:extLst>
                      <a:ext uri="{FF2B5EF4-FFF2-40B4-BE49-F238E27FC236}">
                        <a16:creationId xmlns:a16="http://schemas.microsoft.com/office/drawing/2014/main" id="{583D9992-75F8-E3B2-0408-B9D4164F4962}"/>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30" name="Oval 13">
                    <a:extLst>
                      <a:ext uri="{FF2B5EF4-FFF2-40B4-BE49-F238E27FC236}">
                        <a16:creationId xmlns:a16="http://schemas.microsoft.com/office/drawing/2014/main" id="{1838B4F5-5141-E9CE-B200-2F0A46425338}"/>
                      </a:ext>
                    </a:extLst>
                  </p:cNvPr>
                  <p:cNvSpPr>
                    <a:spLocks noChangeArrowheads="1"/>
                  </p:cNvSpPr>
                  <p:nvPr/>
                </p:nvSpPr>
                <p:spPr bwMode="auto">
                  <a:xfrm>
                    <a:off x="1730375" y="2120902"/>
                    <a:ext cx="60325" cy="603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31" name="Freeform 11">
                    <a:extLst>
                      <a:ext uri="{FF2B5EF4-FFF2-40B4-BE49-F238E27FC236}">
                        <a16:creationId xmlns:a16="http://schemas.microsoft.com/office/drawing/2014/main" id="{B10673B1-845B-1BA5-7E0A-EEE319EDDE8E}"/>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grpSp>
            <p:grpSp>
              <p:nvGrpSpPr>
                <p:cNvPr id="23" name="Gruppieren 366">
                  <a:extLst>
                    <a:ext uri="{FF2B5EF4-FFF2-40B4-BE49-F238E27FC236}">
                      <a16:creationId xmlns:a16="http://schemas.microsoft.com/office/drawing/2014/main" id="{0393A53B-38C8-C0BB-5817-CE446AFE39DE}"/>
                    </a:ext>
                  </a:extLst>
                </p:cNvPr>
                <p:cNvGrpSpPr/>
                <p:nvPr/>
              </p:nvGrpSpPr>
              <p:grpSpPr>
                <a:xfrm flipV="1">
                  <a:off x="1662113" y="2062231"/>
                  <a:ext cx="192088" cy="506413"/>
                  <a:chOff x="1662113" y="1735139"/>
                  <a:chExt cx="192088" cy="506413"/>
                </a:xfrm>
                <a:noFill/>
              </p:grpSpPr>
              <p:sp>
                <p:nvSpPr>
                  <p:cNvPr id="24" name="Freeform 10">
                    <a:extLst>
                      <a:ext uri="{FF2B5EF4-FFF2-40B4-BE49-F238E27FC236}">
                        <a16:creationId xmlns:a16="http://schemas.microsoft.com/office/drawing/2014/main" id="{A0777251-8F56-4920-B87B-8AC54EF86DCA}"/>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grp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25" name="Freeform 11">
                    <a:extLst>
                      <a:ext uri="{FF2B5EF4-FFF2-40B4-BE49-F238E27FC236}">
                        <a16:creationId xmlns:a16="http://schemas.microsoft.com/office/drawing/2014/main" id="{DCA544BC-83EE-A851-4A2C-7B98CFBC507E}"/>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grp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26" name="Freeform 12">
                    <a:extLst>
                      <a:ext uri="{FF2B5EF4-FFF2-40B4-BE49-F238E27FC236}">
                        <a16:creationId xmlns:a16="http://schemas.microsoft.com/office/drawing/2014/main" id="{041E47CE-66E8-C5F3-0737-09C2FEAA56B4}"/>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27" name="Oval 13">
                    <a:extLst>
                      <a:ext uri="{FF2B5EF4-FFF2-40B4-BE49-F238E27FC236}">
                        <a16:creationId xmlns:a16="http://schemas.microsoft.com/office/drawing/2014/main" id="{FA7B188A-1FD8-CF87-34F7-03BA08DAA49B}"/>
                      </a:ext>
                    </a:extLst>
                  </p:cNvPr>
                  <p:cNvSpPr>
                    <a:spLocks noChangeArrowheads="1"/>
                  </p:cNvSpPr>
                  <p:nvPr/>
                </p:nvSpPr>
                <p:spPr bwMode="auto">
                  <a:xfrm>
                    <a:off x="1730375" y="2120902"/>
                    <a:ext cx="60325" cy="60325"/>
                  </a:xfrm>
                  <a:prstGeom prst="ellipse">
                    <a:avLst/>
                  </a:prstGeom>
                  <a:grp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grpSp>
          </p:grpSp>
          <p:grpSp>
            <p:nvGrpSpPr>
              <p:cNvPr id="17" name="Gruppieren 375">
                <a:extLst>
                  <a:ext uri="{FF2B5EF4-FFF2-40B4-BE49-F238E27FC236}">
                    <a16:creationId xmlns:a16="http://schemas.microsoft.com/office/drawing/2014/main" id="{CFAA5368-F7C6-02A4-56B9-D693C744A6AF}"/>
                  </a:ext>
                </a:extLst>
              </p:cNvPr>
              <p:cNvGrpSpPr/>
              <p:nvPr/>
            </p:nvGrpSpPr>
            <p:grpSpPr>
              <a:xfrm>
                <a:off x="1430336" y="1425917"/>
                <a:ext cx="817200" cy="412452"/>
                <a:chOff x="1430336" y="1425917"/>
                <a:chExt cx="817200" cy="412452"/>
              </a:xfrm>
            </p:grpSpPr>
            <p:sp>
              <p:nvSpPr>
                <p:cNvPr id="18" name="Freeform 11">
                  <a:extLst>
                    <a:ext uri="{FF2B5EF4-FFF2-40B4-BE49-F238E27FC236}">
                      <a16:creationId xmlns:a16="http://schemas.microsoft.com/office/drawing/2014/main" id="{E5BBE6D0-524F-78FC-D57C-8C2BA1AE0598}"/>
                    </a:ext>
                  </a:extLst>
                </p:cNvPr>
                <p:cNvSpPr>
                  <a:spLocks/>
                </p:cNvSpPr>
                <p:nvPr/>
              </p:nvSpPr>
              <p:spPr bwMode="auto">
                <a:xfrm>
                  <a:off x="1430336" y="1487276"/>
                  <a:ext cx="246261" cy="351093"/>
                </a:xfrm>
                <a:custGeom>
                  <a:avLst/>
                  <a:gdLst>
                    <a:gd name="T0" fmla="*/ 160 w 378"/>
                    <a:gd name="T1" fmla="*/ 534 h 534"/>
                    <a:gd name="T2" fmla="*/ 378 w 378"/>
                    <a:gd name="T3" fmla="*/ 139 h 534"/>
                    <a:gd name="T4" fmla="*/ 298 w 378"/>
                    <a:gd name="T5" fmla="*/ 0 h 534"/>
                    <a:gd name="T6" fmla="*/ 0 w 378"/>
                    <a:gd name="T7" fmla="*/ 534 h 534"/>
                    <a:gd name="T8" fmla="*/ 160 w 378"/>
                    <a:gd name="T9" fmla="*/ 534 h 534"/>
                  </a:gdLst>
                  <a:ahLst/>
                  <a:cxnLst>
                    <a:cxn ang="0">
                      <a:pos x="T0" y="T1"/>
                    </a:cxn>
                    <a:cxn ang="0">
                      <a:pos x="T2" y="T3"/>
                    </a:cxn>
                    <a:cxn ang="0">
                      <a:pos x="T4" y="T5"/>
                    </a:cxn>
                    <a:cxn ang="0">
                      <a:pos x="T6" y="T7"/>
                    </a:cxn>
                    <a:cxn ang="0">
                      <a:pos x="T8" y="T9"/>
                    </a:cxn>
                  </a:cxnLst>
                  <a:rect l="0" t="0" r="r" b="b"/>
                  <a:pathLst>
                    <a:path w="378" h="534">
                      <a:moveTo>
                        <a:pt x="160" y="534"/>
                      </a:moveTo>
                      <a:cubicBezTo>
                        <a:pt x="160" y="367"/>
                        <a:pt x="247" y="221"/>
                        <a:pt x="378" y="139"/>
                      </a:cubicBezTo>
                      <a:cubicBezTo>
                        <a:pt x="298" y="0"/>
                        <a:pt x="298" y="0"/>
                        <a:pt x="298" y="0"/>
                      </a:cubicBezTo>
                      <a:cubicBezTo>
                        <a:pt x="119" y="111"/>
                        <a:pt x="0" y="308"/>
                        <a:pt x="0" y="534"/>
                      </a:cubicBezTo>
                      <a:lnTo>
                        <a:pt x="160" y="534"/>
                      </a:ln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19" name="Freeform 12">
                  <a:extLst>
                    <a:ext uri="{FF2B5EF4-FFF2-40B4-BE49-F238E27FC236}">
                      <a16:creationId xmlns:a16="http://schemas.microsoft.com/office/drawing/2014/main" id="{25FFFB4D-531D-687A-17C2-22222277707F}"/>
                    </a:ext>
                  </a:extLst>
                </p:cNvPr>
                <p:cNvSpPr>
                  <a:spLocks/>
                </p:cNvSpPr>
                <p:nvPr/>
              </p:nvSpPr>
              <p:spPr bwMode="auto">
                <a:xfrm>
                  <a:off x="1644679" y="1425917"/>
                  <a:ext cx="388514" cy="140878"/>
                </a:xfrm>
                <a:custGeom>
                  <a:avLst/>
                  <a:gdLst>
                    <a:gd name="T0" fmla="*/ 80 w 596"/>
                    <a:gd name="T1" fmla="*/ 214 h 214"/>
                    <a:gd name="T2" fmla="*/ 298 w 596"/>
                    <a:gd name="T3" fmla="*/ 160 h 214"/>
                    <a:gd name="T4" fmla="*/ 516 w 596"/>
                    <a:gd name="T5" fmla="*/ 214 h 214"/>
                    <a:gd name="T6" fmla="*/ 596 w 596"/>
                    <a:gd name="T7" fmla="*/ 75 h 214"/>
                    <a:gd name="T8" fmla="*/ 298 w 596"/>
                    <a:gd name="T9" fmla="*/ 0 h 214"/>
                    <a:gd name="T10" fmla="*/ 0 w 596"/>
                    <a:gd name="T11" fmla="*/ 75 h 214"/>
                    <a:gd name="T12" fmla="*/ 80 w 596"/>
                    <a:gd name="T13" fmla="*/ 214 h 214"/>
                  </a:gdLst>
                  <a:ahLst/>
                  <a:cxnLst>
                    <a:cxn ang="0">
                      <a:pos x="T0" y="T1"/>
                    </a:cxn>
                    <a:cxn ang="0">
                      <a:pos x="T2" y="T3"/>
                    </a:cxn>
                    <a:cxn ang="0">
                      <a:pos x="T4" y="T5"/>
                    </a:cxn>
                    <a:cxn ang="0">
                      <a:pos x="T6" y="T7"/>
                    </a:cxn>
                    <a:cxn ang="0">
                      <a:pos x="T8" y="T9"/>
                    </a:cxn>
                    <a:cxn ang="0">
                      <a:pos x="T10" y="T11"/>
                    </a:cxn>
                    <a:cxn ang="0">
                      <a:pos x="T12" y="T13"/>
                    </a:cxn>
                  </a:cxnLst>
                  <a:rect l="0" t="0" r="r" b="b"/>
                  <a:pathLst>
                    <a:path w="596" h="214">
                      <a:moveTo>
                        <a:pt x="80" y="214"/>
                      </a:moveTo>
                      <a:cubicBezTo>
                        <a:pt x="145" y="179"/>
                        <a:pt x="219" y="160"/>
                        <a:pt x="298" y="160"/>
                      </a:cubicBezTo>
                      <a:cubicBezTo>
                        <a:pt x="377" y="160"/>
                        <a:pt x="451" y="179"/>
                        <a:pt x="516" y="214"/>
                      </a:cubicBezTo>
                      <a:cubicBezTo>
                        <a:pt x="596" y="75"/>
                        <a:pt x="596" y="75"/>
                        <a:pt x="596" y="75"/>
                      </a:cubicBezTo>
                      <a:cubicBezTo>
                        <a:pt x="507" y="27"/>
                        <a:pt x="406" y="0"/>
                        <a:pt x="298" y="0"/>
                      </a:cubicBezTo>
                      <a:cubicBezTo>
                        <a:pt x="190" y="0"/>
                        <a:pt x="89" y="27"/>
                        <a:pt x="0" y="75"/>
                      </a:cubicBezTo>
                      <a:lnTo>
                        <a:pt x="80" y="214"/>
                      </a:lnTo>
                      <a:close/>
                    </a:path>
                  </a:pathLst>
                </a:custGeom>
                <a:solidFill>
                  <a:srgbClr val="E8C64D"/>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20" name="Freeform 13">
                  <a:extLst>
                    <a:ext uri="{FF2B5EF4-FFF2-40B4-BE49-F238E27FC236}">
                      <a16:creationId xmlns:a16="http://schemas.microsoft.com/office/drawing/2014/main" id="{55A71AE2-5172-5BE9-D8B6-41A49139084D}"/>
                    </a:ext>
                  </a:extLst>
                </p:cNvPr>
                <p:cNvSpPr>
                  <a:spLocks/>
                </p:cNvSpPr>
                <p:nvPr/>
              </p:nvSpPr>
              <p:spPr bwMode="auto">
                <a:xfrm>
                  <a:off x="2001275" y="1487276"/>
                  <a:ext cx="246261" cy="351093"/>
                </a:xfrm>
                <a:custGeom>
                  <a:avLst/>
                  <a:gdLst>
                    <a:gd name="T0" fmla="*/ 80 w 378"/>
                    <a:gd name="T1" fmla="*/ 0 h 534"/>
                    <a:gd name="T2" fmla="*/ 0 w 378"/>
                    <a:gd name="T3" fmla="*/ 139 h 534"/>
                    <a:gd name="T4" fmla="*/ 218 w 378"/>
                    <a:gd name="T5" fmla="*/ 534 h 534"/>
                    <a:gd name="T6" fmla="*/ 378 w 378"/>
                    <a:gd name="T7" fmla="*/ 534 h 534"/>
                    <a:gd name="T8" fmla="*/ 80 w 378"/>
                    <a:gd name="T9" fmla="*/ 0 h 534"/>
                  </a:gdLst>
                  <a:ahLst/>
                  <a:cxnLst>
                    <a:cxn ang="0">
                      <a:pos x="T0" y="T1"/>
                    </a:cxn>
                    <a:cxn ang="0">
                      <a:pos x="T2" y="T3"/>
                    </a:cxn>
                    <a:cxn ang="0">
                      <a:pos x="T4" y="T5"/>
                    </a:cxn>
                    <a:cxn ang="0">
                      <a:pos x="T6" y="T7"/>
                    </a:cxn>
                    <a:cxn ang="0">
                      <a:pos x="T8" y="T9"/>
                    </a:cxn>
                  </a:cxnLst>
                  <a:rect l="0" t="0" r="r" b="b"/>
                  <a:pathLst>
                    <a:path w="378" h="534">
                      <a:moveTo>
                        <a:pt x="80" y="0"/>
                      </a:moveTo>
                      <a:cubicBezTo>
                        <a:pt x="0" y="139"/>
                        <a:pt x="0" y="139"/>
                        <a:pt x="0" y="139"/>
                      </a:cubicBezTo>
                      <a:cubicBezTo>
                        <a:pt x="131" y="221"/>
                        <a:pt x="218" y="367"/>
                        <a:pt x="218" y="534"/>
                      </a:cubicBezTo>
                      <a:cubicBezTo>
                        <a:pt x="378" y="534"/>
                        <a:pt x="378" y="534"/>
                        <a:pt x="378" y="534"/>
                      </a:cubicBezTo>
                      <a:cubicBezTo>
                        <a:pt x="378" y="308"/>
                        <a:pt x="259" y="111"/>
                        <a:pt x="80" y="0"/>
                      </a:cubicBez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21" name="Freihandform: Form 379">
                  <a:extLst>
                    <a:ext uri="{FF2B5EF4-FFF2-40B4-BE49-F238E27FC236}">
                      <a16:creationId xmlns:a16="http://schemas.microsoft.com/office/drawing/2014/main" id="{EC413444-D016-6BBF-9004-01013210CBD9}"/>
                    </a:ext>
                  </a:extLst>
                </p:cNvPr>
                <p:cNvSpPr>
                  <a:spLocks/>
                </p:cNvSpPr>
                <p:nvPr/>
              </p:nvSpPr>
              <p:spPr bwMode="auto">
                <a:xfrm>
                  <a:off x="1555530" y="1552212"/>
                  <a:ext cx="566812" cy="286157"/>
                </a:xfrm>
                <a:custGeom>
                  <a:avLst/>
                  <a:gdLst>
                    <a:gd name="connsiteX0" fmla="*/ 283406 w 566812"/>
                    <a:gd name="connsiteY0" fmla="*/ 0 h 286157"/>
                    <a:gd name="connsiteX1" fmla="*/ 566812 w 566812"/>
                    <a:gd name="connsiteY1" fmla="*/ 286157 h 286157"/>
                    <a:gd name="connsiteX2" fmla="*/ 506571 w 566812"/>
                    <a:gd name="connsiteY2" fmla="*/ 286157 h 286157"/>
                    <a:gd name="connsiteX3" fmla="*/ 283406 w 566812"/>
                    <a:gd name="connsiteY3" fmla="*/ 60826 h 286157"/>
                    <a:gd name="connsiteX4" fmla="*/ 60241 w 566812"/>
                    <a:gd name="connsiteY4" fmla="*/ 286157 h 286157"/>
                    <a:gd name="connsiteX5" fmla="*/ 0 w 566812"/>
                    <a:gd name="connsiteY5" fmla="*/ 286157 h 286157"/>
                    <a:gd name="connsiteX6" fmla="*/ 283406 w 566812"/>
                    <a:gd name="connsiteY6" fmla="*/ 0 h 28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812" h="286157">
                      <a:moveTo>
                        <a:pt x="283406" y="0"/>
                      </a:moveTo>
                      <a:cubicBezTo>
                        <a:pt x="439768" y="0"/>
                        <a:pt x="566812" y="128277"/>
                        <a:pt x="566812" y="286157"/>
                      </a:cubicBezTo>
                      <a:lnTo>
                        <a:pt x="506571" y="286157"/>
                      </a:lnTo>
                      <a:cubicBezTo>
                        <a:pt x="506571" y="161837"/>
                        <a:pt x="406532" y="60826"/>
                        <a:pt x="283406" y="60826"/>
                      </a:cubicBezTo>
                      <a:cubicBezTo>
                        <a:pt x="160281" y="60826"/>
                        <a:pt x="60241" y="161837"/>
                        <a:pt x="60241" y="286157"/>
                      </a:cubicBezTo>
                      <a:lnTo>
                        <a:pt x="0" y="286157"/>
                      </a:lnTo>
                      <a:cubicBezTo>
                        <a:pt x="0" y="128277"/>
                        <a:pt x="127044" y="0"/>
                        <a:pt x="283406" y="0"/>
                      </a:cubicBez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algn="ctr"/>
                  <a:endParaRPr lang="de-DE" sz="600" dirty="0">
                    <a:solidFill>
                      <a:schemeClr val="bg2"/>
                    </a:solidFill>
                    <a:latin typeface="+mn-lt"/>
                    <a:cs typeface="DWS Sans TT Light" panose="02010404010101010104" pitchFamily="2" charset="0"/>
                  </a:endParaRPr>
                </a:p>
              </p:txBody>
            </p:sp>
          </p:grpSp>
        </p:grpSp>
        <p:grpSp>
          <p:nvGrpSpPr>
            <p:cNvPr id="10" name="Group 3">
              <a:extLst>
                <a:ext uri="{FF2B5EF4-FFF2-40B4-BE49-F238E27FC236}">
                  <a16:creationId xmlns:a16="http://schemas.microsoft.com/office/drawing/2014/main" id="{5B6A5D69-427D-C9F7-BF87-F5D3C33ED018}"/>
                </a:ext>
              </a:extLst>
            </p:cNvPr>
            <p:cNvGrpSpPr/>
            <p:nvPr/>
          </p:nvGrpSpPr>
          <p:grpSpPr>
            <a:xfrm>
              <a:off x="501753" y="3465840"/>
              <a:ext cx="770246" cy="210303"/>
              <a:chOff x="478491" y="3642063"/>
              <a:chExt cx="932377" cy="261615"/>
            </a:xfrm>
          </p:grpSpPr>
          <p:sp>
            <p:nvSpPr>
              <p:cNvPr id="11" name="Rechteck 273">
                <a:extLst>
                  <a:ext uri="{FF2B5EF4-FFF2-40B4-BE49-F238E27FC236}">
                    <a16:creationId xmlns:a16="http://schemas.microsoft.com/office/drawing/2014/main" id="{2D003828-15A5-5B45-301D-8D1F13CDDC1B}"/>
                  </a:ext>
                </a:extLst>
              </p:cNvPr>
              <p:cNvSpPr/>
              <p:nvPr/>
            </p:nvSpPr>
            <p:spPr>
              <a:xfrm>
                <a:off x="478491" y="3691357"/>
                <a:ext cx="932377" cy="2123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bg1"/>
                  </a:buClr>
                </a:pPr>
                <a:r>
                  <a:rPr lang="en-GB" sz="700" dirty="0" err="1">
                    <a:solidFill>
                      <a:schemeClr val="bg2"/>
                    </a:solidFill>
                    <a:latin typeface="DWS Sans Light" panose="02010404010101010104" pitchFamily="50" charset="0"/>
                    <a:cs typeface="DWS Sans Light" panose="02010404010101010104" pitchFamily="50" charset="0"/>
                  </a:rPr>
                  <a:t>lungo</a:t>
                </a:r>
                <a:r>
                  <a:rPr lang="en-GB" sz="700" dirty="0">
                    <a:solidFill>
                      <a:schemeClr val="bg2"/>
                    </a:solidFill>
                    <a:latin typeface="DWS Sans Light" panose="02010404010101010104" pitchFamily="50" charset="0"/>
                    <a:cs typeface="DWS Sans Light" panose="02010404010101010104" pitchFamily="50" charset="0"/>
                  </a:rPr>
                  <a:t>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p:txBody>
          </p:sp>
          <p:sp>
            <p:nvSpPr>
              <p:cNvPr id="12" name="Rectangle 2">
                <a:extLst>
                  <a:ext uri="{FF2B5EF4-FFF2-40B4-BE49-F238E27FC236}">
                    <a16:creationId xmlns:a16="http://schemas.microsoft.com/office/drawing/2014/main" id="{65DA0DBE-85D2-C97E-8199-E6A932900577}"/>
                  </a:ext>
                </a:extLst>
              </p:cNvPr>
              <p:cNvSpPr/>
              <p:nvPr/>
            </p:nvSpPr>
            <p:spPr bwMode="auto">
              <a:xfrm>
                <a:off x="612278" y="3642063"/>
                <a:ext cx="205200" cy="84034"/>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600" dirty="0">
                  <a:latin typeface="+mn-lt"/>
                </a:endParaRPr>
              </a:p>
            </p:txBody>
          </p:sp>
          <p:sp>
            <p:nvSpPr>
              <p:cNvPr id="13" name="Rectangle 215">
                <a:extLst>
                  <a:ext uri="{FF2B5EF4-FFF2-40B4-BE49-F238E27FC236}">
                    <a16:creationId xmlns:a16="http://schemas.microsoft.com/office/drawing/2014/main" id="{CF9C229A-5B44-4558-5112-11A3C279BBA6}"/>
                  </a:ext>
                </a:extLst>
              </p:cNvPr>
              <p:cNvSpPr/>
              <p:nvPr/>
            </p:nvSpPr>
            <p:spPr bwMode="auto">
              <a:xfrm>
                <a:off x="1069462" y="3642063"/>
                <a:ext cx="205200" cy="84034"/>
              </a:xfrm>
              <a:prstGeom prst="rect">
                <a:avLst/>
              </a:prstGeom>
              <a:solidFill>
                <a:srgbClr val="ABD654"/>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600" dirty="0">
                  <a:latin typeface="+mn-lt"/>
                </a:endParaRPr>
              </a:p>
            </p:txBody>
          </p:sp>
          <p:sp>
            <p:nvSpPr>
              <p:cNvPr id="14" name="Rectangle 216">
                <a:extLst>
                  <a:ext uri="{FF2B5EF4-FFF2-40B4-BE49-F238E27FC236}">
                    <a16:creationId xmlns:a16="http://schemas.microsoft.com/office/drawing/2014/main" id="{859AB615-7B23-D083-A97F-92AA24DEA02E}"/>
                  </a:ext>
                </a:extLst>
              </p:cNvPr>
              <p:cNvSpPr/>
              <p:nvPr/>
            </p:nvSpPr>
            <p:spPr bwMode="auto">
              <a:xfrm>
                <a:off x="840870" y="3642063"/>
                <a:ext cx="205200" cy="84034"/>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600" dirty="0">
                  <a:latin typeface="+mn-lt"/>
                </a:endParaRPr>
              </a:p>
            </p:txBody>
          </p:sp>
        </p:grpSp>
      </p:grpSp>
      <p:sp>
        <p:nvSpPr>
          <p:cNvPr id="41" name="Rechteck 273">
            <a:extLst>
              <a:ext uri="{FF2B5EF4-FFF2-40B4-BE49-F238E27FC236}">
                <a16:creationId xmlns:a16="http://schemas.microsoft.com/office/drawing/2014/main" id="{3180773B-2539-CBE7-F71C-CE5112E68562}"/>
              </a:ext>
            </a:extLst>
          </p:cNvPr>
          <p:cNvSpPr/>
          <p:nvPr/>
        </p:nvSpPr>
        <p:spPr>
          <a:xfrm>
            <a:off x="685662" y="9680682"/>
            <a:ext cx="729051" cy="1114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fontAlgn="auto">
              <a:spcBef>
                <a:spcPts val="600"/>
              </a:spcBef>
              <a:spcAft>
                <a:spcPts val="0"/>
              </a:spcAft>
              <a:buClr>
                <a:srgbClr val="FFFFFF"/>
              </a:buClr>
              <a:defRPr/>
            </a:pPr>
            <a:r>
              <a:rPr lang="en-GB" sz="700" dirty="0">
                <a:solidFill>
                  <a:schemeClr val="bg2"/>
                </a:solidFill>
                <a:latin typeface="DWS Sans Light" panose="02010404010101010104" pitchFamily="50" charset="0"/>
                <a:cs typeface="DWS Sans Light" panose="02010404010101010104" pitchFamily="50" charset="0"/>
              </a:rPr>
              <a:t>breve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p:txBody>
      </p:sp>
      <p:grpSp>
        <p:nvGrpSpPr>
          <p:cNvPr id="42" name="Gruppieren 364">
            <a:extLst>
              <a:ext uri="{FF2B5EF4-FFF2-40B4-BE49-F238E27FC236}">
                <a16:creationId xmlns:a16="http://schemas.microsoft.com/office/drawing/2014/main" id="{C790E81D-FAA5-29BF-A4A8-45DA472B73DE}"/>
              </a:ext>
            </a:extLst>
          </p:cNvPr>
          <p:cNvGrpSpPr/>
          <p:nvPr/>
        </p:nvGrpSpPr>
        <p:grpSpPr>
          <a:xfrm>
            <a:off x="1018091" y="9450879"/>
            <a:ext cx="56689" cy="246007"/>
            <a:chOff x="1662113" y="1735139"/>
            <a:chExt cx="192088" cy="833505"/>
          </a:xfrm>
        </p:grpSpPr>
        <p:grpSp>
          <p:nvGrpSpPr>
            <p:cNvPr id="48" name="Gruppieren 365">
              <a:extLst>
                <a:ext uri="{FF2B5EF4-FFF2-40B4-BE49-F238E27FC236}">
                  <a16:creationId xmlns:a16="http://schemas.microsoft.com/office/drawing/2014/main" id="{DFEF7EC9-0027-95EE-2228-6C15116F6387}"/>
                </a:ext>
              </a:extLst>
            </p:cNvPr>
            <p:cNvGrpSpPr/>
            <p:nvPr/>
          </p:nvGrpSpPr>
          <p:grpSpPr>
            <a:xfrm>
              <a:off x="1662113" y="1735139"/>
              <a:ext cx="192088" cy="506413"/>
              <a:chOff x="1662113" y="1735139"/>
              <a:chExt cx="192088" cy="506413"/>
            </a:xfrm>
          </p:grpSpPr>
          <p:sp>
            <p:nvSpPr>
              <p:cNvPr id="54" name="Freeform 10">
                <a:extLst>
                  <a:ext uri="{FF2B5EF4-FFF2-40B4-BE49-F238E27FC236}">
                    <a16:creationId xmlns:a16="http://schemas.microsoft.com/office/drawing/2014/main" id="{3B4C347E-A224-AC8E-EA07-4EEE626A54DF}"/>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solidFill>
                <a:srgbClr val="B7C5C8"/>
              </a:solid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55" name="Freeform 12">
                <a:extLst>
                  <a:ext uri="{FF2B5EF4-FFF2-40B4-BE49-F238E27FC236}">
                    <a16:creationId xmlns:a16="http://schemas.microsoft.com/office/drawing/2014/main" id="{4A774EB6-484E-B684-1588-F623C8E72952}"/>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56" name="Oval 13">
                <a:extLst>
                  <a:ext uri="{FF2B5EF4-FFF2-40B4-BE49-F238E27FC236}">
                    <a16:creationId xmlns:a16="http://schemas.microsoft.com/office/drawing/2014/main" id="{150C0347-0E0C-96F4-6A9B-5BBC4E292063}"/>
                  </a:ext>
                </a:extLst>
              </p:cNvPr>
              <p:cNvSpPr>
                <a:spLocks noChangeArrowheads="1"/>
              </p:cNvSpPr>
              <p:nvPr/>
            </p:nvSpPr>
            <p:spPr bwMode="auto">
              <a:xfrm>
                <a:off x="1730375" y="2120902"/>
                <a:ext cx="60325" cy="603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73" name="Freeform 11">
                <a:extLst>
                  <a:ext uri="{FF2B5EF4-FFF2-40B4-BE49-F238E27FC236}">
                    <a16:creationId xmlns:a16="http://schemas.microsoft.com/office/drawing/2014/main" id="{E8AE5C5C-B0A7-BD54-CDFC-06F37CB1511C}"/>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grpSp>
        <p:grpSp>
          <p:nvGrpSpPr>
            <p:cNvPr id="49" name="Gruppieren 366">
              <a:extLst>
                <a:ext uri="{FF2B5EF4-FFF2-40B4-BE49-F238E27FC236}">
                  <a16:creationId xmlns:a16="http://schemas.microsoft.com/office/drawing/2014/main" id="{4AA60328-EF12-3100-6D97-F2E2B768A68A}"/>
                </a:ext>
              </a:extLst>
            </p:cNvPr>
            <p:cNvGrpSpPr/>
            <p:nvPr/>
          </p:nvGrpSpPr>
          <p:grpSpPr>
            <a:xfrm flipV="1">
              <a:off x="1662113" y="2062231"/>
              <a:ext cx="192088" cy="506413"/>
              <a:chOff x="1662113" y="1735139"/>
              <a:chExt cx="192088" cy="506413"/>
            </a:xfrm>
            <a:noFill/>
          </p:grpSpPr>
          <p:sp>
            <p:nvSpPr>
              <p:cNvPr id="50" name="Freeform 10">
                <a:extLst>
                  <a:ext uri="{FF2B5EF4-FFF2-40B4-BE49-F238E27FC236}">
                    <a16:creationId xmlns:a16="http://schemas.microsoft.com/office/drawing/2014/main" id="{A29F29BF-09B2-62C1-C0A2-4F2ACEC603C8}"/>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grp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51" name="Freeform 11">
                <a:extLst>
                  <a:ext uri="{FF2B5EF4-FFF2-40B4-BE49-F238E27FC236}">
                    <a16:creationId xmlns:a16="http://schemas.microsoft.com/office/drawing/2014/main" id="{7CF27CF7-826C-450A-32B0-42D713D232CE}"/>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grp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52" name="Freeform 12">
                <a:extLst>
                  <a:ext uri="{FF2B5EF4-FFF2-40B4-BE49-F238E27FC236}">
                    <a16:creationId xmlns:a16="http://schemas.microsoft.com/office/drawing/2014/main" id="{BB6EB5DF-E7E7-9785-638B-E9D668F5D831}"/>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53" name="Oval 13">
                <a:extLst>
                  <a:ext uri="{FF2B5EF4-FFF2-40B4-BE49-F238E27FC236}">
                    <a16:creationId xmlns:a16="http://schemas.microsoft.com/office/drawing/2014/main" id="{9E73C0AB-EEE7-AEDB-474E-3B432D0D072E}"/>
                  </a:ext>
                </a:extLst>
              </p:cNvPr>
              <p:cNvSpPr>
                <a:spLocks noChangeArrowheads="1"/>
              </p:cNvSpPr>
              <p:nvPr/>
            </p:nvSpPr>
            <p:spPr bwMode="auto">
              <a:xfrm>
                <a:off x="1730375" y="2120902"/>
                <a:ext cx="60325" cy="60325"/>
              </a:xfrm>
              <a:prstGeom prst="ellipse">
                <a:avLst/>
              </a:prstGeom>
              <a:grp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grpSp>
      </p:grpSp>
      <p:grpSp>
        <p:nvGrpSpPr>
          <p:cNvPr id="43" name="Gruppieren 375">
            <a:extLst>
              <a:ext uri="{FF2B5EF4-FFF2-40B4-BE49-F238E27FC236}">
                <a16:creationId xmlns:a16="http://schemas.microsoft.com/office/drawing/2014/main" id="{7B3C81AC-A9B4-3365-FEAD-AB1A9A4A5B1C}"/>
              </a:ext>
            </a:extLst>
          </p:cNvPr>
          <p:cNvGrpSpPr/>
          <p:nvPr/>
        </p:nvGrpSpPr>
        <p:grpSpPr>
          <a:xfrm>
            <a:off x="781951" y="9403125"/>
            <a:ext cx="547200" cy="276208"/>
            <a:chOff x="1430336" y="1425917"/>
            <a:chExt cx="817200" cy="412452"/>
          </a:xfrm>
        </p:grpSpPr>
        <p:sp>
          <p:nvSpPr>
            <p:cNvPr id="44" name="Freeform 11">
              <a:extLst>
                <a:ext uri="{FF2B5EF4-FFF2-40B4-BE49-F238E27FC236}">
                  <a16:creationId xmlns:a16="http://schemas.microsoft.com/office/drawing/2014/main" id="{021B9642-6AEC-F9FB-6CA5-A70E4148982A}"/>
                </a:ext>
              </a:extLst>
            </p:cNvPr>
            <p:cNvSpPr>
              <a:spLocks/>
            </p:cNvSpPr>
            <p:nvPr/>
          </p:nvSpPr>
          <p:spPr bwMode="auto">
            <a:xfrm>
              <a:off x="1430336" y="1487276"/>
              <a:ext cx="246261" cy="351093"/>
            </a:xfrm>
            <a:custGeom>
              <a:avLst/>
              <a:gdLst>
                <a:gd name="T0" fmla="*/ 160 w 378"/>
                <a:gd name="T1" fmla="*/ 534 h 534"/>
                <a:gd name="T2" fmla="*/ 378 w 378"/>
                <a:gd name="T3" fmla="*/ 139 h 534"/>
                <a:gd name="T4" fmla="*/ 298 w 378"/>
                <a:gd name="T5" fmla="*/ 0 h 534"/>
                <a:gd name="T6" fmla="*/ 0 w 378"/>
                <a:gd name="T7" fmla="*/ 534 h 534"/>
                <a:gd name="T8" fmla="*/ 160 w 378"/>
                <a:gd name="T9" fmla="*/ 534 h 534"/>
              </a:gdLst>
              <a:ahLst/>
              <a:cxnLst>
                <a:cxn ang="0">
                  <a:pos x="T0" y="T1"/>
                </a:cxn>
                <a:cxn ang="0">
                  <a:pos x="T2" y="T3"/>
                </a:cxn>
                <a:cxn ang="0">
                  <a:pos x="T4" y="T5"/>
                </a:cxn>
                <a:cxn ang="0">
                  <a:pos x="T6" y="T7"/>
                </a:cxn>
                <a:cxn ang="0">
                  <a:pos x="T8" y="T9"/>
                </a:cxn>
              </a:cxnLst>
              <a:rect l="0" t="0" r="r" b="b"/>
              <a:pathLst>
                <a:path w="378" h="534">
                  <a:moveTo>
                    <a:pt x="160" y="534"/>
                  </a:moveTo>
                  <a:cubicBezTo>
                    <a:pt x="160" y="367"/>
                    <a:pt x="247" y="221"/>
                    <a:pt x="378" y="139"/>
                  </a:cubicBezTo>
                  <a:cubicBezTo>
                    <a:pt x="298" y="0"/>
                    <a:pt x="298" y="0"/>
                    <a:pt x="298" y="0"/>
                  </a:cubicBezTo>
                  <a:cubicBezTo>
                    <a:pt x="119" y="111"/>
                    <a:pt x="0" y="308"/>
                    <a:pt x="0" y="534"/>
                  </a:cubicBezTo>
                  <a:lnTo>
                    <a:pt x="160" y="534"/>
                  </a:ln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45" name="Freeform 12">
              <a:extLst>
                <a:ext uri="{FF2B5EF4-FFF2-40B4-BE49-F238E27FC236}">
                  <a16:creationId xmlns:a16="http://schemas.microsoft.com/office/drawing/2014/main" id="{0156CFDF-FBAC-36C4-58AD-980EA1A4CB02}"/>
                </a:ext>
              </a:extLst>
            </p:cNvPr>
            <p:cNvSpPr>
              <a:spLocks/>
            </p:cNvSpPr>
            <p:nvPr/>
          </p:nvSpPr>
          <p:spPr bwMode="auto">
            <a:xfrm>
              <a:off x="1644679" y="1425917"/>
              <a:ext cx="388514" cy="140878"/>
            </a:xfrm>
            <a:custGeom>
              <a:avLst/>
              <a:gdLst>
                <a:gd name="T0" fmla="*/ 80 w 596"/>
                <a:gd name="T1" fmla="*/ 214 h 214"/>
                <a:gd name="T2" fmla="*/ 298 w 596"/>
                <a:gd name="T3" fmla="*/ 160 h 214"/>
                <a:gd name="T4" fmla="*/ 516 w 596"/>
                <a:gd name="T5" fmla="*/ 214 h 214"/>
                <a:gd name="T6" fmla="*/ 596 w 596"/>
                <a:gd name="T7" fmla="*/ 75 h 214"/>
                <a:gd name="T8" fmla="*/ 298 w 596"/>
                <a:gd name="T9" fmla="*/ 0 h 214"/>
                <a:gd name="T10" fmla="*/ 0 w 596"/>
                <a:gd name="T11" fmla="*/ 75 h 214"/>
                <a:gd name="T12" fmla="*/ 80 w 596"/>
                <a:gd name="T13" fmla="*/ 214 h 214"/>
              </a:gdLst>
              <a:ahLst/>
              <a:cxnLst>
                <a:cxn ang="0">
                  <a:pos x="T0" y="T1"/>
                </a:cxn>
                <a:cxn ang="0">
                  <a:pos x="T2" y="T3"/>
                </a:cxn>
                <a:cxn ang="0">
                  <a:pos x="T4" y="T5"/>
                </a:cxn>
                <a:cxn ang="0">
                  <a:pos x="T6" y="T7"/>
                </a:cxn>
                <a:cxn ang="0">
                  <a:pos x="T8" y="T9"/>
                </a:cxn>
                <a:cxn ang="0">
                  <a:pos x="T10" y="T11"/>
                </a:cxn>
                <a:cxn ang="0">
                  <a:pos x="T12" y="T13"/>
                </a:cxn>
              </a:cxnLst>
              <a:rect l="0" t="0" r="r" b="b"/>
              <a:pathLst>
                <a:path w="596" h="214">
                  <a:moveTo>
                    <a:pt x="80" y="214"/>
                  </a:moveTo>
                  <a:cubicBezTo>
                    <a:pt x="145" y="179"/>
                    <a:pt x="219" y="160"/>
                    <a:pt x="298" y="160"/>
                  </a:cubicBezTo>
                  <a:cubicBezTo>
                    <a:pt x="377" y="160"/>
                    <a:pt x="451" y="179"/>
                    <a:pt x="516" y="214"/>
                  </a:cubicBezTo>
                  <a:cubicBezTo>
                    <a:pt x="596" y="75"/>
                    <a:pt x="596" y="75"/>
                    <a:pt x="596" y="75"/>
                  </a:cubicBezTo>
                  <a:cubicBezTo>
                    <a:pt x="507" y="27"/>
                    <a:pt x="406" y="0"/>
                    <a:pt x="298" y="0"/>
                  </a:cubicBezTo>
                  <a:cubicBezTo>
                    <a:pt x="190" y="0"/>
                    <a:pt x="89" y="27"/>
                    <a:pt x="0" y="75"/>
                  </a:cubicBezTo>
                  <a:lnTo>
                    <a:pt x="80" y="214"/>
                  </a:lnTo>
                  <a:close/>
                </a:path>
              </a:pathLst>
            </a:custGeom>
            <a:solidFill>
              <a:srgbClr val="E8C64D"/>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46" name="Freeform 13">
              <a:extLst>
                <a:ext uri="{FF2B5EF4-FFF2-40B4-BE49-F238E27FC236}">
                  <a16:creationId xmlns:a16="http://schemas.microsoft.com/office/drawing/2014/main" id="{55A5C77C-2FB6-4040-811F-EB72AAC0A03C}"/>
                </a:ext>
              </a:extLst>
            </p:cNvPr>
            <p:cNvSpPr>
              <a:spLocks/>
            </p:cNvSpPr>
            <p:nvPr/>
          </p:nvSpPr>
          <p:spPr bwMode="auto">
            <a:xfrm>
              <a:off x="2001275" y="1487276"/>
              <a:ext cx="246261" cy="351093"/>
            </a:xfrm>
            <a:custGeom>
              <a:avLst/>
              <a:gdLst>
                <a:gd name="T0" fmla="*/ 80 w 378"/>
                <a:gd name="T1" fmla="*/ 0 h 534"/>
                <a:gd name="T2" fmla="*/ 0 w 378"/>
                <a:gd name="T3" fmla="*/ 139 h 534"/>
                <a:gd name="T4" fmla="*/ 218 w 378"/>
                <a:gd name="T5" fmla="*/ 534 h 534"/>
                <a:gd name="T6" fmla="*/ 378 w 378"/>
                <a:gd name="T7" fmla="*/ 534 h 534"/>
                <a:gd name="T8" fmla="*/ 80 w 378"/>
                <a:gd name="T9" fmla="*/ 0 h 534"/>
              </a:gdLst>
              <a:ahLst/>
              <a:cxnLst>
                <a:cxn ang="0">
                  <a:pos x="T0" y="T1"/>
                </a:cxn>
                <a:cxn ang="0">
                  <a:pos x="T2" y="T3"/>
                </a:cxn>
                <a:cxn ang="0">
                  <a:pos x="T4" y="T5"/>
                </a:cxn>
                <a:cxn ang="0">
                  <a:pos x="T6" y="T7"/>
                </a:cxn>
                <a:cxn ang="0">
                  <a:pos x="T8" y="T9"/>
                </a:cxn>
              </a:cxnLst>
              <a:rect l="0" t="0" r="r" b="b"/>
              <a:pathLst>
                <a:path w="378" h="534">
                  <a:moveTo>
                    <a:pt x="80" y="0"/>
                  </a:moveTo>
                  <a:cubicBezTo>
                    <a:pt x="0" y="139"/>
                    <a:pt x="0" y="139"/>
                    <a:pt x="0" y="139"/>
                  </a:cubicBezTo>
                  <a:cubicBezTo>
                    <a:pt x="131" y="221"/>
                    <a:pt x="218" y="367"/>
                    <a:pt x="218" y="534"/>
                  </a:cubicBezTo>
                  <a:cubicBezTo>
                    <a:pt x="378" y="534"/>
                    <a:pt x="378" y="534"/>
                    <a:pt x="378" y="534"/>
                  </a:cubicBezTo>
                  <a:cubicBezTo>
                    <a:pt x="378" y="308"/>
                    <a:pt x="259" y="111"/>
                    <a:pt x="80" y="0"/>
                  </a:cubicBez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47" name="Freihandform: Form 379">
              <a:extLst>
                <a:ext uri="{FF2B5EF4-FFF2-40B4-BE49-F238E27FC236}">
                  <a16:creationId xmlns:a16="http://schemas.microsoft.com/office/drawing/2014/main" id="{40967A83-B144-74C4-FA02-114481FBE57C}"/>
                </a:ext>
              </a:extLst>
            </p:cNvPr>
            <p:cNvSpPr>
              <a:spLocks/>
            </p:cNvSpPr>
            <p:nvPr/>
          </p:nvSpPr>
          <p:spPr bwMode="auto">
            <a:xfrm>
              <a:off x="1555530" y="1552212"/>
              <a:ext cx="566812" cy="286157"/>
            </a:xfrm>
            <a:custGeom>
              <a:avLst/>
              <a:gdLst>
                <a:gd name="connsiteX0" fmla="*/ 283406 w 566812"/>
                <a:gd name="connsiteY0" fmla="*/ 0 h 286157"/>
                <a:gd name="connsiteX1" fmla="*/ 566812 w 566812"/>
                <a:gd name="connsiteY1" fmla="*/ 286157 h 286157"/>
                <a:gd name="connsiteX2" fmla="*/ 506571 w 566812"/>
                <a:gd name="connsiteY2" fmla="*/ 286157 h 286157"/>
                <a:gd name="connsiteX3" fmla="*/ 283406 w 566812"/>
                <a:gd name="connsiteY3" fmla="*/ 60826 h 286157"/>
                <a:gd name="connsiteX4" fmla="*/ 60241 w 566812"/>
                <a:gd name="connsiteY4" fmla="*/ 286157 h 286157"/>
                <a:gd name="connsiteX5" fmla="*/ 0 w 566812"/>
                <a:gd name="connsiteY5" fmla="*/ 286157 h 286157"/>
                <a:gd name="connsiteX6" fmla="*/ 283406 w 566812"/>
                <a:gd name="connsiteY6" fmla="*/ 0 h 28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812" h="286157">
                  <a:moveTo>
                    <a:pt x="283406" y="0"/>
                  </a:moveTo>
                  <a:cubicBezTo>
                    <a:pt x="439768" y="0"/>
                    <a:pt x="566812" y="128277"/>
                    <a:pt x="566812" y="286157"/>
                  </a:cubicBezTo>
                  <a:lnTo>
                    <a:pt x="506571" y="286157"/>
                  </a:lnTo>
                  <a:cubicBezTo>
                    <a:pt x="506571" y="161837"/>
                    <a:pt x="406532" y="60826"/>
                    <a:pt x="283406" y="60826"/>
                  </a:cubicBezTo>
                  <a:cubicBezTo>
                    <a:pt x="160281" y="60826"/>
                    <a:pt x="60241" y="161837"/>
                    <a:pt x="60241" y="286157"/>
                  </a:cubicBezTo>
                  <a:lnTo>
                    <a:pt x="0" y="286157"/>
                  </a:lnTo>
                  <a:cubicBezTo>
                    <a:pt x="0" y="128277"/>
                    <a:pt x="127044" y="0"/>
                    <a:pt x="283406" y="0"/>
                  </a:cubicBez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algn="ctr"/>
              <a:endParaRPr lang="de-DE" sz="600" dirty="0">
                <a:solidFill>
                  <a:schemeClr val="bg2"/>
                </a:solidFill>
                <a:latin typeface="+mn-lt"/>
                <a:cs typeface="DWS Sans TT Light" panose="02010404010101010104" pitchFamily="2" charset="0"/>
              </a:endParaRPr>
            </a:p>
          </p:txBody>
        </p:sp>
      </p:grpSp>
      <p:grpSp>
        <p:nvGrpSpPr>
          <p:cNvPr id="35" name="Group 3">
            <a:extLst>
              <a:ext uri="{FF2B5EF4-FFF2-40B4-BE49-F238E27FC236}">
                <a16:creationId xmlns:a16="http://schemas.microsoft.com/office/drawing/2014/main" id="{E67B9718-AB2D-68F7-02A8-EC422785E8CD}"/>
              </a:ext>
            </a:extLst>
          </p:cNvPr>
          <p:cNvGrpSpPr/>
          <p:nvPr/>
        </p:nvGrpSpPr>
        <p:grpSpPr>
          <a:xfrm>
            <a:off x="706598" y="9819873"/>
            <a:ext cx="697906" cy="237168"/>
            <a:chOff x="524754" y="3642063"/>
            <a:chExt cx="844810" cy="295036"/>
          </a:xfrm>
        </p:grpSpPr>
        <p:sp>
          <p:nvSpPr>
            <p:cNvPr id="36" name="Rechteck 273">
              <a:extLst>
                <a:ext uri="{FF2B5EF4-FFF2-40B4-BE49-F238E27FC236}">
                  <a16:creationId xmlns:a16="http://schemas.microsoft.com/office/drawing/2014/main" id="{86D81AF5-BD1F-08FC-FA57-34662B818242}"/>
                </a:ext>
              </a:extLst>
            </p:cNvPr>
            <p:cNvSpPr/>
            <p:nvPr/>
          </p:nvSpPr>
          <p:spPr>
            <a:xfrm>
              <a:off x="524754" y="3732091"/>
              <a:ext cx="844810" cy="2050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bg1"/>
                </a:buClr>
              </a:pPr>
              <a:r>
                <a:rPr lang="en-GB" sz="700" dirty="0" err="1">
                  <a:solidFill>
                    <a:schemeClr val="bg2"/>
                  </a:solidFill>
                  <a:latin typeface="DWS Sans Light" panose="02010404010101010104" pitchFamily="50" charset="0"/>
                  <a:cs typeface="DWS Sans Light" panose="02010404010101010104" pitchFamily="50" charset="0"/>
                </a:rPr>
                <a:t>lungo</a:t>
              </a:r>
              <a:r>
                <a:rPr lang="en-GB" sz="700" dirty="0">
                  <a:solidFill>
                    <a:schemeClr val="bg2"/>
                  </a:solidFill>
                  <a:latin typeface="DWS Sans Light" panose="02010404010101010104" pitchFamily="50" charset="0"/>
                  <a:cs typeface="DWS Sans Light" panose="02010404010101010104" pitchFamily="50" charset="0"/>
                </a:rPr>
                <a:t>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p:txBody>
        </p:sp>
        <p:sp>
          <p:nvSpPr>
            <p:cNvPr id="37" name="Rectangle 2">
              <a:extLst>
                <a:ext uri="{FF2B5EF4-FFF2-40B4-BE49-F238E27FC236}">
                  <a16:creationId xmlns:a16="http://schemas.microsoft.com/office/drawing/2014/main" id="{03069D20-6745-AD20-C362-544CAC1DFDCD}"/>
                </a:ext>
              </a:extLst>
            </p:cNvPr>
            <p:cNvSpPr/>
            <p:nvPr/>
          </p:nvSpPr>
          <p:spPr bwMode="auto">
            <a:xfrm>
              <a:off x="612278" y="3642063"/>
              <a:ext cx="205200" cy="84034"/>
            </a:xfrm>
            <a:prstGeom prst="rect">
              <a:avLst/>
            </a:prstGeom>
            <a:solidFill>
              <a:srgbClr val="E40134"/>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600" dirty="0">
                <a:latin typeface="+mn-lt"/>
              </a:endParaRPr>
            </a:p>
          </p:txBody>
        </p:sp>
        <p:sp>
          <p:nvSpPr>
            <p:cNvPr id="39" name="Rectangle 215">
              <a:extLst>
                <a:ext uri="{FF2B5EF4-FFF2-40B4-BE49-F238E27FC236}">
                  <a16:creationId xmlns:a16="http://schemas.microsoft.com/office/drawing/2014/main" id="{7FBB52CC-1A11-F1A6-5D6C-201C13647C57}"/>
                </a:ext>
              </a:extLst>
            </p:cNvPr>
            <p:cNvSpPr/>
            <p:nvPr/>
          </p:nvSpPr>
          <p:spPr bwMode="auto">
            <a:xfrm>
              <a:off x="1069462" y="3642063"/>
              <a:ext cx="205200" cy="84034"/>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600" dirty="0">
                <a:latin typeface="+mn-lt"/>
              </a:endParaRPr>
            </a:p>
          </p:txBody>
        </p:sp>
        <p:sp>
          <p:nvSpPr>
            <p:cNvPr id="40" name="Rectangle 216">
              <a:extLst>
                <a:ext uri="{FF2B5EF4-FFF2-40B4-BE49-F238E27FC236}">
                  <a16:creationId xmlns:a16="http://schemas.microsoft.com/office/drawing/2014/main" id="{C567A8A3-8CE7-2F36-E274-8F377E7CF584}"/>
                </a:ext>
              </a:extLst>
            </p:cNvPr>
            <p:cNvSpPr/>
            <p:nvPr/>
          </p:nvSpPr>
          <p:spPr bwMode="auto">
            <a:xfrm>
              <a:off x="840870" y="3642063"/>
              <a:ext cx="205200" cy="84034"/>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600" dirty="0">
                <a:latin typeface="+mn-lt"/>
              </a:endParaRPr>
            </a:p>
          </p:txBody>
        </p:sp>
      </p:grpSp>
      <p:grpSp>
        <p:nvGrpSpPr>
          <p:cNvPr id="2" name="Gruppieren 1">
            <a:extLst>
              <a:ext uri="{FF2B5EF4-FFF2-40B4-BE49-F238E27FC236}">
                <a16:creationId xmlns:a16="http://schemas.microsoft.com/office/drawing/2014/main" id="{026FCF09-4BB4-3E33-7712-68D58FB4822D}"/>
              </a:ext>
            </a:extLst>
          </p:cNvPr>
          <p:cNvGrpSpPr/>
          <p:nvPr/>
        </p:nvGrpSpPr>
        <p:grpSpPr>
          <a:xfrm>
            <a:off x="631562" y="7455453"/>
            <a:ext cx="748155" cy="784178"/>
            <a:chOff x="3740274" y="1804402"/>
            <a:chExt cx="748154" cy="784178"/>
          </a:xfrm>
        </p:grpSpPr>
        <p:grpSp>
          <p:nvGrpSpPr>
            <p:cNvPr id="112" name="Group 56">
              <a:extLst>
                <a:ext uri="{FF2B5EF4-FFF2-40B4-BE49-F238E27FC236}">
                  <a16:creationId xmlns:a16="http://schemas.microsoft.com/office/drawing/2014/main" id="{38978A84-A226-3F76-04A2-557CF30AC864}"/>
                </a:ext>
              </a:extLst>
            </p:cNvPr>
            <p:cNvGrpSpPr/>
            <p:nvPr/>
          </p:nvGrpSpPr>
          <p:grpSpPr>
            <a:xfrm>
              <a:off x="3740274" y="1804402"/>
              <a:ext cx="734309" cy="446961"/>
              <a:chOff x="263732" y="1425917"/>
              <a:chExt cx="1096632" cy="671986"/>
            </a:xfrm>
          </p:grpSpPr>
          <p:sp>
            <p:nvSpPr>
              <p:cNvPr id="118" name="Rechteck 272">
                <a:extLst>
                  <a:ext uri="{FF2B5EF4-FFF2-40B4-BE49-F238E27FC236}">
                    <a16:creationId xmlns:a16="http://schemas.microsoft.com/office/drawing/2014/main" id="{D13377F7-EE90-7B5C-1F38-D3F94077DA8A}"/>
                  </a:ext>
                </a:extLst>
              </p:cNvPr>
              <p:cNvSpPr/>
              <p:nvPr/>
            </p:nvSpPr>
            <p:spPr>
              <a:xfrm>
                <a:off x="263732" y="1893681"/>
                <a:ext cx="1096632" cy="204222"/>
              </a:xfrm>
              <a:prstGeom prst="rect">
                <a:avLst/>
              </a:prstGeom>
              <a:noFill/>
              <a:ln w="25400" cap="flat" cmpd="sng" algn="ctr">
                <a:noFill/>
                <a:prstDash val="solid"/>
              </a:ln>
              <a:effectLst/>
            </p:spPr>
            <p:txBody>
              <a:bodyPr lIns="72000" tIns="72000" rIns="72000" bIns="72000" rtlCol="0" anchor="ctr"/>
              <a:lstStyle/>
              <a:p>
                <a:pPr algn="ctr" defTabSz="914400" fontAlgn="auto">
                  <a:spcBef>
                    <a:spcPts val="600"/>
                  </a:spcBef>
                  <a:spcAft>
                    <a:spcPts val="0"/>
                  </a:spcAft>
                  <a:buClr>
                    <a:srgbClr val="FFFFFF"/>
                  </a:buClr>
                  <a:defRPr/>
                </a:pPr>
                <a:r>
                  <a:rPr lang="en-GB" sz="700" dirty="0">
                    <a:solidFill>
                      <a:schemeClr val="bg2"/>
                    </a:solidFill>
                    <a:latin typeface="DWS Sans Light" panose="02010404010101010104" pitchFamily="50" charset="0"/>
                    <a:cs typeface="DWS Sans Light" panose="02010404010101010104" pitchFamily="50" charset="0"/>
                  </a:rPr>
                  <a:t>breve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p:txBody>
          </p:sp>
          <p:grpSp>
            <p:nvGrpSpPr>
              <p:cNvPr id="119" name="Gruppieren 348">
                <a:extLst>
                  <a:ext uri="{FF2B5EF4-FFF2-40B4-BE49-F238E27FC236}">
                    <a16:creationId xmlns:a16="http://schemas.microsoft.com/office/drawing/2014/main" id="{BAF3B56B-0592-102E-D19A-1531FA276A8F}"/>
                  </a:ext>
                </a:extLst>
              </p:cNvPr>
              <p:cNvGrpSpPr/>
              <p:nvPr/>
            </p:nvGrpSpPr>
            <p:grpSpPr>
              <a:xfrm rot="3291935">
                <a:off x="788748" y="1645811"/>
                <a:ext cx="84660" cy="367354"/>
                <a:chOff x="1662113" y="1735139"/>
                <a:chExt cx="192088" cy="833505"/>
              </a:xfrm>
            </p:grpSpPr>
            <p:grpSp>
              <p:nvGrpSpPr>
                <p:cNvPr id="125" name="Gruppieren 349">
                  <a:extLst>
                    <a:ext uri="{FF2B5EF4-FFF2-40B4-BE49-F238E27FC236}">
                      <a16:creationId xmlns:a16="http://schemas.microsoft.com/office/drawing/2014/main" id="{277905D3-9D95-9CC6-4EAC-09604497286D}"/>
                    </a:ext>
                  </a:extLst>
                </p:cNvPr>
                <p:cNvGrpSpPr/>
                <p:nvPr/>
              </p:nvGrpSpPr>
              <p:grpSpPr>
                <a:xfrm>
                  <a:off x="1662113" y="1735139"/>
                  <a:ext cx="192088" cy="506413"/>
                  <a:chOff x="1662113" y="1735139"/>
                  <a:chExt cx="192088" cy="506413"/>
                </a:xfrm>
              </p:grpSpPr>
              <p:sp>
                <p:nvSpPr>
                  <p:cNvPr id="132" name="Freeform 10">
                    <a:extLst>
                      <a:ext uri="{FF2B5EF4-FFF2-40B4-BE49-F238E27FC236}">
                        <a16:creationId xmlns:a16="http://schemas.microsoft.com/office/drawing/2014/main" id="{5A6299E3-39CA-9104-6DF5-671D65E31857}"/>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solidFill>
                    <a:srgbClr val="B7C5C8"/>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133" name="Freeform 12">
                    <a:extLst>
                      <a:ext uri="{FF2B5EF4-FFF2-40B4-BE49-F238E27FC236}">
                        <a16:creationId xmlns:a16="http://schemas.microsoft.com/office/drawing/2014/main" id="{4A33D2E4-D29A-AF5E-70B4-76B387EBCF05}"/>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134" name="Oval 13">
                    <a:extLst>
                      <a:ext uri="{FF2B5EF4-FFF2-40B4-BE49-F238E27FC236}">
                        <a16:creationId xmlns:a16="http://schemas.microsoft.com/office/drawing/2014/main" id="{DF1D67D1-11C7-7404-7254-76A156705FB4}"/>
                      </a:ext>
                    </a:extLst>
                  </p:cNvPr>
                  <p:cNvSpPr>
                    <a:spLocks noChangeArrowheads="1"/>
                  </p:cNvSpPr>
                  <p:nvPr/>
                </p:nvSpPr>
                <p:spPr bwMode="auto">
                  <a:xfrm>
                    <a:off x="1730375" y="2120902"/>
                    <a:ext cx="60325" cy="60325"/>
                  </a:xfrm>
                  <a:prstGeom prst="ellipse">
                    <a:avLst/>
                  </a:prstGeom>
                  <a:solidFill>
                    <a:srgbClr val="6D828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135" name="Freeform 11">
                    <a:extLst>
                      <a:ext uri="{FF2B5EF4-FFF2-40B4-BE49-F238E27FC236}">
                        <a16:creationId xmlns:a16="http://schemas.microsoft.com/office/drawing/2014/main" id="{C8B9B59A-B24B-83E9-C634-3CA52BFA6B94}"/>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solidFill>
                    <a:srgbClr val="6D828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grpSp>
            <p:grpSp>
              <p:nvGrpSpPr>
                <p:cNvPr id="126" name="Gruppieren 350">
                  <a:extLst>
                    <a:ext uri="{FF2B5EF4-FFF2-40B4-BE49-F238E27FC236}">
                      <a16:creationId xmlns:a16="http://schemas.microsoft.com/office/drawing/2014/main" id="{39B16E1E-713F-5F78-7323-70303F84EFB7}"/>
                    </a:ext>
                  </a:extLst>
                </p:cNvPr>
                <p:cNvGrpSpPr/>
                <p:nvPr/>
              </p:nvGrpSpPr>
              <p:grpSpPr>
                <a:xfrm flipV="1">
                  <a:off x="1662113" y="2062231"/>
                  <a:ext cx="192088" cy="506413"/>
                  <a:chOff x="1662113" y="1735139"/>
                  <a:chExt cx="192088" cy="506413"/>
                </a:xfrm>
                <a:noFill/>
              </p:grpSpPr>
              <p:sp>
                <p:nvSpPr>
                  <p:cNvPr id="128" name="Freeform 10">
                    <a:extLst>
                      <a:ext uri="{FF2B5EF4-FFF2-40B4-BE49-F238E27FC236}">
                        <a16:creationId xmlns:a16="http://schemas.microsoft.com/office/drawing/2014/main" id="{81C2EDE2-95FC-5121-FE60-7FE8A4734183}"/>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129" name="Freeform 11">
                    <a:extLst>
                      <a:ext uri="{FF2B5EF4-FFF2-40B4-BE49-F238E27FC236}">
                        <a16:creationId xmlns:a16="http://schemas.microsoft.com/office/drawing/2014/main" id="{EB47AF4C-E7BD-B503-DDE9-FBD6CF077FF7}"/>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130" name="Freeform 12">
                    <a:extLst>
                      <a:ext uri="{FF2B5EF4-FFF2-40B4-BE49-F238E27FC236}">
                        <a16:creationId xmlns:a16="http://schemas.microsoft.com/office/drawing/2014/main" id="{6B72F548-8A52-BA7F-CB23-3472DD435D69}"/>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131" name="Oval 13">
                    <a:extLst>
                      <a:ext uri="{FF2B5EF4-FFF2-40B4-BE49-F238E27FC236}">
                        <a16:creationId xmlns:a16="http://schemas.microsoft.com/office/drawing/2014/main" id="{804562CE-8F38-F467-CA39-2523A46BF174}"/>
                      </a:ext>
                    </a:extLst>
                  </p:cNvPr>
                  <p:cNvSpPr>
                    <a:spLocks noChangeArrowheads="1"/>
                  </p:cNvSpPr>
                  <p:nvPr/>
                </p:nvSpPr>
                <p:spPr bwMode="auto">
                  <a:xfrm>
                    <a:off x="1730375" y="2120902"/>
                    <a:ext cx="60325" cy="603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grpSp>
          </p:grpSp>
          <p:grpSp>
            <p:nvGrpSpPr>
              <p:cNvPr id="120" name="Gruppieren 359">
                <a:extLst>
                  <a:ext uri="{FF2B5EF4-FFF2-40B4-BE49-F238E27FC236}">
                    <a16:creationId xmlns:a16="http://schemas.microsoft.com/office/drawing/2014/main" id="{A6E615A5-A328-06B1-1CF9-C2C35D03E1A5}"/>
                  </a:ext>
                </a:extLst>
              </p:cNvPr>
              <p:cNvGrpSpPr/>
              <p:nvPr/>
            </p:nvGrpSpPr>
            <p:grpSpPr>
              <a:xfrm>
                <a:off x="431540" y="1425917"/>
                <a:ext cx="817200" cy="412452"/>
                <a:chOff x="431540" y="1425917"/>
                <a:chExt cx="817200" cy="412452"/>
              </a:xfrm>
            </p:grpSpPr>
            <p:sp>
              <p:nvSpPr>
                <p:cNvPr id="121" name="Freeform 11">
                  <a:extLst>
                    <a:ext uri="{FF2B5EF4-FFF2-40B4-BE49-F238E27FC236}">
                      <a16:creationId xmlns:a16="http://schemas.microsoft.com/office/drawing/2014/main" id="{7B5066BE-7F9C-A92B-FD4D-B57387E163CA}"/>
                    </a:ext>
                  </a:extLst>
                </p:cNvPr>
                <p:cNvSpPr>
                  <a:spLocks/>
                </p:cNvSpPr>
                <p:nvPr/>
              </p:nvSpPr>
              <p:spPr bwMode="auto">
                <a:xfrm>
                  <a:off x="431540" y="1487276"/>
                  <a:ext cx="246261" cy="351093"/>
                </a:xfrm>
                <a:custGeom>
                  <a:avLst/>
                  <a:gdLst>
                    <a:gd name="T0" fmla="*/ 160 w 378"/>
                    <a:gd name="T1" fmla="*/ 534 h 534"/>
                    <a:gd name="T2" fmla="*/ 378 w 378"/>
                    <a:gd name="T3" fmla="*/ 139 h 534"/>
                    <a:gd name="T4" fmla="*/ 298 w 378"/>
                    <a:gd name="T5" fmla="*/ 0 h 534"/>
                    <a:gd name="T6" fmla="*/ 0 w 378"/>
                    <a:gd name="T7" fmla="*/ 534 h 534"/>
                    <a:gd name="T8" fmla="*/ 160 w 378"/>
                    <a:gd name="T9" fmla="*/ 534 h 534"/>
                  </a:gdLst>
                  <a:ahLst/>
                  <a:cxnLst>
                    <a:cxn ang="0">
                      <a:pos x="T0" y="T1"/>
                    </a:cxn>
                    <a:cxn ang="0">
                      <a:pos x="T2" y="T3"/>
                    </a:cxn>
                    <a:cxn ang="0">
                      <a:pos x="T4" y="T5"/>
                    </a:cxn>
                    <a:cxn ang="0">
                      <a:pos x="T6" y="T7"/>
                    </a:cxn>
                    <a:cxn ang="0">
                      <a:pos x="T8" y="T9"/>
                    </a:cxn>
                  </a:cxnLst>
                  <a:rect l="0" t="0" r="r" b="b"/>
                  <a:pathLst>
                    <a:path w="378" h="534">
                      <a:moveTo>
                        <a:pt x="160" y="534"/>
                      </a:moveTo>
                      <a:cubicBezTo>
                        <a:pt x="160" y="367"/>
                        <a:pt x="247" y="221"/>
                        <a:pt x="378" y="139"/>
                      </a:cubicBezTo>
                      <a:cubicBezTo>
                        <a:pt x="298" y="0"/>
                        <a:pt x="298" y="0"/>
                        <a:pt x="298" y="0"/>
                      </a:cubicBezTo>
                      <a:cubicBezTo>
                        <a:pt x="119" y="111"/>
                        <a:pt x="0" y="308"/>
                        <a:pt x="0" y="534"/>
                      </a:cubicBezTo>
                      <a:lnTo>
                        <a:pt x="160" y="534"/>
                      </a:ln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122" name="Freeform 12">
                  <a:extLst>
                    <a:ext uri="{FF2B5EF4-FFF2-40B4-BE49-F238E27FC236}">
                      <a16:creationId xmlns:a16="http://schemas.microsoft.com/office/drawing/2014/main" id="{E4C8158D-6B58-AC5F-C2A2-06642A21A39E}"/>
                    </a:ext>
                  </a:extLst>
                </p:cNvPr>
                <p:cNvSpPr>
                  <a:spLocks/>
                </p:cNvSpPr>
                <p:nvPr/>
              </p:nvSpPr>
              <p:spPr bwMode="auto">
                <a:xfrm>
                  <a:off x="645883" y="1425917"/>
                  <a:ext cx="388514" cy="140878"/>
                </a:xfrm>
                <a:custGeom>
                  <a:avLst/>
                  <a:gdLst>
                    <a:gd name="T0" fmla="*/ 80 w 596"/>
                    <a:gd name="T1" fmla="*/ 214 h 214"/>
                    <a:gd name="T2" fmla="*/ 298 w 596"/>
                    <a:gd name="T3" fmla="*/ 160 h 214"/>
                    <a:gd name="T4" fmla="*/ 516 w 596"/>
                    <a:gd name="T5" fmla="*/ 214 h 214"/>
                    <a:gd name="T6" fmla="*/ 596 w 596"/>
                    <a:gd name="T7" fmla="*/ 75 h 214"/>
                    <a:gd name="T8" fmla="*/ 298 w 596"/>
                    <a:gd name="T9" fmla="*/ 0 h 214"/>
                    <a:gd name="T10" fmla="*/ 0 w 596"/>
                    <a:gd name="T11" fmla="*/ 75 h 214"/>
                    <a:gd name="T12" fmla="*/ 80 w 596"/>
                    <a:gd name="T13" fmla="*/ 214 h 214"/>
                  </a:gdLst>
                  <a:ahLst/>
                  <a:cxnLst>
                    <a:cxn ang="0">
                      <a:pos x="T0" y="T1"/>
                    </a:cxn>
                    <a:cxn ang="0">
                      <a:pos x="T2" y="T3"/>
                    </a:cxn>
                    <a:cxn ang="0">
                      <a:pos x="T4" y="T5"/>
                    </a:cxn>
                    <a:cxn ang="0">
                      <a:pos x="T6" y="T7"/>
                    </a:cxn>
                    <a:cxn ang="0">
                      <a:pos x="T8" y="T9"/>
                    </a:cxn>
                    <a:cxn ang="0">
                      <a:pos x="T10" y="T11"/>
                    </a:cxn>
                    <a:cxn ang="0">
                      <a:pos x="T12" y="T13"/>
                    </a:cxn>
                  </a:cxnLst>
                  <a:rect l="0" t="0" r="r" b="b"/>
                  <a:pathLst>
                    <a:path w="596" h="214">
                      <a:moveTo>
                        <a:pt x="80" y="214"/>
                      </a:moveTo>
                      <a:cubicBezTo>
                        <a:pt x="145" y="179"/>
                        <a:pt x="219" y="160"/>
                        <a:pt x="298" y="160"/>
                      </a:cubicBezTo>
                      <a:cubicBezTo>
                        <a:pt x="377" y="160"/>
                        <a:pt x="451" y="179"/>
                        <a:pt x="516" y="214"/>
                      </a:cubicBezTo>
                      <a:cubicBezTo>
                        <a:pt x="596" y="75"/>
                        <a:pt x="596" y="75"/>
                        <a:pt x="596" y="75"/>
                      </a:cubicBezTo>
                      <a:cubicBezTo>
                        <a:pt x="507" y="27"/>
                        <a:pt x="406" y="0"/>
                        <a:pt x="298" y="0"/>
                      </a:cubicBezTo>
                      <a:cubicBezTo>
                        <a:pt x="190" y="0"/>
                        <a:pt x="89" y="27"/>
                        <a:pt x="0" y="75"/>
                      </a:cubicBezTo>
                      <a:lnTo>
                        <a:pt x="80" y="214"/>
                      </a:ln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123" name="Freeform 13">
                  <a:extLst>
                    <a:ext uri="{FF2B5EF4-FFF2-40B4-BE49-F238E27FC236}">
                      <a16:creationId xmlns:a16="http://schemas.microsoft.com/office/drawing/2014/main" id="{14762556-89BF-2710-C873-61F6529F7BDC}"/>
                    </a:ext>
                  </a:extLst>
                </p:cNvPr>
                <p:cNvSpPr>
                  <a:spLocks/>
                </p:cNvSpPr>
                <p:nvPr/>
              </p:nvSpPr>
              <p:spPr bwMode="auto">
                <a:xfrm>
                  <a:off x="1002479" y="1487276"/>
                  <a:ext cx="246261" cy="351093"/>
                </a:xfrm>
                <a:custGeom>
                  <a:avLst/>
                  <a:gdLst>
                    <a:gd name="T0" fmla="*/ 80 w 378"/>
                    <a:gd name="T1" fmla="*/ 0 h 534"/>
                    <a:gd name="T2" fmla="*/ 0 w 378"/>
                    <a:gd name="T3" fmla="*/ 139 h 534"/>
                    <a:gd name="T4" fmla="*/ 218 w 378"/>
                    <a:gd name="T5" fmla="*/ 534 h 534"/>
                    <a:gd name="T6" fmla="*/ 378 w 378"/>
                    <a:gd name="T7" fmla="*/ 534 h 534"/>
                    <a:gd name="T8" fmla="*/ 80 w 378"/>
                    <a:gd name="T9" fmla="*/ 0 h 534"/>
                  </a:gdLst>
                  <a:ahLst/>
                  <a:cxnLst>
                    <a:cxn ang="0">
                      <a:pos x="T0" y="T1"/>
                    </a:cxn>
                    <a:cxn ang="0">
                      <a:pos x="T2" y="T3"/>
                    </a:cxn>
                    <a:cxn ang="0">
                      <a:pos x="T4" y="T5"/>
                    </a:cxn>
                    <a:cxn ang="0">
                      <a:pos x="T6" y="T7"/>
                    </a:cxn>
                    <a:cxn ang="0">
                      <a:pos x="T8" y="T9"/>
                    </a:cxn>
                  </a:cxnLst>
                  <a:rect l="0" t="0" r="r" b="b"/>
                  <a:pathLst>
                    <a:path w="378" h="534">
                      <a:moveTo>
                        <a:pt x="80" y="0"/>
                      </a:moveTo>
                      <a:cubicBezTo>
                        <a:pt x="0" y="139"/>
                        <a:pt x="0" y="139"/>
                        <a:pt x="0" y="139"/>
                      </a:cubicBezTo>
                      <a:cubicBezTo>
                        <a:pt x="131" y="221"/>
                        <a:pt x="218" y="367"/>
                        <a:pt x="218" y="534"/>
                      </a:cubicBezTo>
                      <a:cubicBezTo>
                        <a:pt x="378" y="534"/>
                        <a:pt x="378" y="534"/>
                        <a:pt x="378" y="534"/>
                      </a:cubicBezTo>
                      <a:cubicBezTo>
                        <a:pt x="378" y="308"/>
                        <a:pt x="259" y="111"/>
                        <a:pt x="80" y="0"/>
                      </a:cubicBezTo>
                      <a:close/>
                    </a:path>
                  </a:pathLst>
                </a:custGeom>
                <a:solidFill>
                  <a:schemeClr val="tx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124" name="Freihandform: Form 363">
                  <a:extLst>
                    <a:ext uri="{FF2B5EF4-FFF2-40B4-BE49-F238E27FC236}">
                      <a16:creationId xmlns:a16="http://schemas.microsoft.com/office/drawing/2014/main" id="{F5A912C3-03A7-22DD-F568-C7C98382EB18}"/>
                    </a:ext>
                  </a:extLst>
                </p:cNvPr>
                <p:cNvSpPr>
                  <a:spLocks/>
                </p:cNvSpPr>
                <p:nvPr/>
              </p:nvSpPr>
              <p:spPr bwMode="auto">
                <a:xfrm>
                  <a:off x="556734" y="1552212"/>
                  <a:ext cx="566812" cy="286157"/>
                </a:xfrm>
                <a:custGeom>
                  <a:avLst/>
                  <a:gdLst>
                    <a:gd name="connsiteX0" fmla="*/ 283406 w 566812"/>
                    <a:gd name="connsiteY0" fmla="*/ 0 h 286157"/>
                    <a:gd name="connsiteX1" fmla="*/ 566812 w 566812"/>
                    <a:gd name="connsiteY1" fmla="*/ 286157 h 286157"/>
                    <a:gd name="connsiteX2" fmla="*/ 506571 w 566812"/>
                    <a:gd name="connsiteY2" fmla="*/ 286157 h 286157"/>
                    <a:gd name="connsiteX3" fmla="*/ 283406 w 566812"/>
                    <a:gd name="connsiteY3" fmla="*/ 60826 h 286157"/>
                    <a:gd name="connsiteX4" fmla="*/ 60241 w 566812"/>
                    <a:gd name="connsiteY4" fmla="*/ 286157 h 286157"/>
                    <a:gd name="connsiteX5" fmla="*/ 0 w 566812"/>
                    <a:gd name="connsiteY5" fmla="*/ 286157 h 286157"/>
                    <a:gd name="connsiteX6" fmla="*/ 283406 w 566812"/>
                    <a:gd name="connsiteY6" fmla="*/ 0 h 28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812" h="286157">
                      <a:moveTo>
                        <a:pt x="283406" y="0"/>
                      </a:moveTo>
                      <a:cubicBezTo>
                        <a:pt x="439768" y="0"/>
                        <a:pt x="566812" y="128277"/>
                        <a:pt x="566812" y="286157"/>
                      </a:cubicBezTo>
                      <a:lnTo>
                        <a:pt x="506571" y="286157"/>
                      </a:lnTo>
                      <a:cubicBezTo>
                        <a:pt x="506571" y="161837"/>
                        <a:pt x="406532" y="60826"/>
                        <a:pt x="283406" y="60826"/>
                      </a:cubicBezTo>
                      <a:cubicBezTo>
                        <a:pt x="160281" y="60826"/>
                        <a:pt x="60241" y="161837"/>
                        <a:pt x="60241" y="286157"/>
                      </a:cubicBezTo>
                      <a:lnTo>
                        <a:pt x="0" y="286157"/>
                      </a:lnTo>
                      <a:cubicBezTo>
                        <a:pt x="0" y="128277"/>
                        <a:pt x="127044" y="0"/>
                        <a:pt x="283406" y="0"/>
                      </a:cubicBez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grpSp>
        </p:grpSp>
        <p:grpSp>
          <p:nvGrpSpPr>
            <p:cNvPr id="113" name="Group 425">
              <a:extLst>
                <a:ext uri="{FF2B5EF4-FFF2-40B4-BE49-F238E27FC236}">
                  <a16:creationId xmlns:a16="http://schemas.microsoft.com/office/drawing/2014/main" id="{C7148EBC-97C8-AA1C-5183-C4716489AA4B}"/>
                </a:ext>
              </a:extLst>
            </p:cNvPr>
            <p:cNvGrpSpPr/>
            <p:nvPr/>
          </p:nvGrpSpPr>
          <p:grpSpPr>
            <a:xfrm>
              <a:off x="3754120" y="2316643"/>
              <a:ext cx="734308" cy="271937"/>
              <a:chOff x="493022" y="3651542"/>
              <a:chExt cx="888878" cy="338289"/>
            </a:xfrm>
          </p:grpSpPr>
          <p:sp>
            <p:nvSpPr>
              <p:cNvPr id="114" name="Rechteck 273">
                <a:extLst>
                  <a:ext uri="{FF2B5EF4-FFF2-40B4-BE49-F238E27FC236}">
                    <a16:creationId xmlns:a16="http://schemas.microsoft.com/office/drawing/2014/main" id="{C138FAF0-917A-A0AA-F069-63682B24E6EE}"/>
                  </a:ext>
                </a:extLst>
              </p:cNvPr>
              <p:cNvSpPr/>
              <p:nvPr/>
            </p:nvSpPr>
            <p:spPr>
              <a:xfrm>
                <a:off x="493022" y="3699538"/>
                <a:ext cx="888878" cy="2902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bg1"/>
                  </a:buClr>
                </a:pPr>
                <a:r>
                  <a:rPr lang="en-GB" sz="700" dirty="0" err="1">
                    <a:solidFill>
                      <a:schemeClr val="bg2"/>
                    </a:solidFill>
                    <a:latin typeface="DWS Sans Light" panose="02010404010101010104" pitchFamily="50" charset="0"/>
                    <a:cs typeface="DWS Sans Light" panose="02010404010101010104" pitchFamily="50" charset="0"/>
                  </a:rPr>
                  <a:t>lungo</a:t>
                </a:r>
                <a:r>
                  <a:rPr lang="en-GB" sz="700" dirty="0">
                    <a:solidFill>
                      <a:schemeClr val="bg2"/>
                    </a:solidFill>
                    <a:latin typeface="DWS Sans Light" panose="02010404010101010104" pitchFamily="50" charset="0"/>
                    <a:cs typeface="DWS Sans Light" panose="02010404010101010104" pitchFamily="50" charset="0"/>
                  </a:rPr>
                  <a:t>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p:txBody>
          </p:sp>
          <p:sp>
            <p:nvSpPr>
              <p:cNvPr id="115" name="Rectangle 428">
                <a:extLst>
                  <a:ext uri="{FF2B5EF4-FFF2-40B4-BE49-F238E27FC236}">
                    <a16:creationId xmlns:a16="http://schemas.microsoft.com/office/drawing/2014/main" id="{DCB57D44-838D-B15F-478C-35D54471BABF}"/>
                  </a:ext>
                </a:extLst>
              </p:cNvPr>
              <p:cNvSpPr/>
              <p:nvPr/>
            </p:nvSpPr>
            <p:spPr bwMode="auto">
              <a:xfrm>
                <a:off x="612278" y="3651542"/>
                <a:ext cx="205200" cy="84035"/>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sp>
            <p:nvSpPr>
              <p:cNvPr id="116" name="Rectangle 429">
                <a:extLst>
                  <a:ext uri="{FF2B5EF4-FFF2-40B4-BE49-F238E27FC236}">
                    <a16:creationId xmlns:a16="http://schemas.microsoft.com/office/drawing/2014/main" id="{8221BCAB-F738-8EA6-2CB1-1623DAF05F8A}"/>
                  </a:ext>
                </a:extLst>
              </p:cNvPr>
              <p:cNvSpPr/>
              <p:nvPr/>
            </p:nvSpPr>
            <p:spPr bwMode="auto">
              <a:xfrm>
                <a:off x="1069462" y="3651542"/>
                <a:ext cx="205200" cy="84035"/>
              </a:xfrm>
              <a:prstGeom prst="rect">
                <a:avLst/>
              </a:prstGeom>
              <a:solidFill>
                <a:srgbClr val="AFCA0B"/>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sp>
            <p:nvSpPr>
              <p:cNvPr id="117" name="Rectangle 430">
                <a:extLst>
                  <a:ext uri="{FF2B5EF4-FFF2-40B4-BE49-F238E27FC236}">
                    <a16:creationId xmlns:a16="http://schemas.microsoft.com/office/drawing/2014/main" id="{8407ECFF-C225-1C69-B17D-40F2ECC192CC}"/>
                  </a:ext>
                </a:extLst>
              </p:cNvPr>
              <p:cNvSpPr/>
              <p:nvPr/>
            </p:nvSpPr>
            <p:spPr bwMode="auto">
              <a:xfrm>
                <a:off x="840869" y="3651542"/>
                <a:ext cx="205200" cy="84035"/>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grpSp>
      </p:grpSp>
      <p:sp>
        <p:nvSpPr>
          <p:cNvPr id="64" name="Rechteck 63">
            <a:extLst>
              <a:ext uri="{FF2B5EF4-FFF2-40B4-BE49-F238E27FC236}">
                <a16:creationId xmlns:a16="http://schemas.microsoft.com/office/drawing/2014/main" id="{8C84EA40-5063-DFCE-B523-B6F3A6F54BF6}"/>
              </a:ext>
            </a:extLst>
          </p:cNvPr>
          <p:cNvSpPr/>
          <p:nvPr/>
        </p:nvSpPr>
        <p:spPr>
          <a:xfrm>
            <a:off x="4077264" y="5487173"/>
            <a:ext cx="2593080" cy="288147"/>
          </a:xfrm>
          <a:prstGeom prst="rect">
            <a:avLst/>
          </a:prstGeom>
        </p:spPr>
        <p:txBody>
          <a:bodyPr wrap="square" lIns="0" tIns="36000" rIns="0" bIns="36000">
            <a:spAutoFit/>
          </a:bodyPr>
          <a:lstStyle/>
          <a:p>
            <a:r>
              <a:rPr lang="en-US" sz="700" dirty="0">
                <a:solidFill>
                  <a:schemeClr val="accent3"/>
                </a:solidFill>
                <a:latin typeface="DWS Sans Light" panose="02010404010101010104" pitchFamily="50" charset="0"/>
              </a:rPr>
              <a:t>Fonti: Bloomberg Finance L.P., DWS Investment GmbH,</a:t>
            </a:r>
          </a:p>
          <a:p>
            <a:r>
              <a:rPr lang="en-US" sz="700" dirty="0">
                <a:solidFill>
                  <a:schemeClr val="accent3"/>
                </a:solidFill>
                <a:latin typeface="DWS Sans Light" panose="02010404010101010104" pitchFamily="50" charset="0"/>
              </a:rPr>
              <a:t>Dati a fine </a:t>
            </a:r>
            <a:r>
              <a:rPr lang="en-US" sz="700" dirty="0" err="1">
                <a:solidFill>
                  <a:schemeClr val="accent3"/>
                </a:solidFill>
                <a:latin typeface="DWS Sans Light" panose="02010404010101010104" pitchFamily="50" charset="0"/>
              </a:rPr>
              <a:t>Gennaio</a:t>
            </a:r>
            <a:r>
              <a:rPr lang="en-US" sz="700" dirty="0">
                <a:solidFill>
                  <a:schemeClr val="accent3"/>
                </a:solidFill>
                <a:latin typeface="DWS Sans Light" panose="02010404010101010104" pitchFamily="50" charset="0"/>
              </a:rPr>
              <a:t> 2025</a:t>
            </a:r>
          </a:p>
        </p:txBody>
      </p:sp>
      <p:grpSp>
        <p:nvGrpSpPr>
          <p:cNvPr id="74" name="Gruppieren 364">
            <a:extLst>
              <a:ext uri="{FF2B5EF4-FFF2-40B4-BE49-F238E27FC236}">
                <a16:creationId xmlns:a16="http://schemas.microsoft.com/office/drawing/2014/main" id="{8CE85F4C-3369-7B10-7F4A-A007DD447E15}"/>
              </a:ext>
            </a:extLst>
          </p:cNvPr>
          <p:cNvGrpSpPr/>
          <p:nvPr/>
        </p:nvGrpSpPr>
        <p:grpSpPr>
          <a:xfrm>
            <a:off x="983890" y="8401656"/>
            <a:ext cx="56689" cy="246007"/>
            <a:chOff x="1662113" y="1735139"/>
            <a:chExt cx="192088" cy="833505"/>
          </a:xfrm>
        </p:grpSpPr>
        <p:grpSp>
          <p:nvGrpSpPr>
            <p:cNvPr id="75" name="Gruppieren 365">
              <a:extLst>
                <a:ext uri="{FF2B5EF4-FFF2-40B4-BE49-F238E27FC236}">
                  <a16:creationId xmlns:a16="http://schemas.microsoft.com/office/drawing/2014/main" id="{CA6B378D-41DE-C7C4-5DC9-4EB49FEF7B79}"/>
                </a:ext>
              </a:extLst>
            </p:cNvPr>
            <p:cNvGrpSpPr/>
            <p:nvPr/>
          </p:nvGrpSpPr>
          <p:grpSpPr>
            <a:xfrm>
              <a:off x="1662113" y="1735139"/>
              <a:ext cx="192088" cy="506413"/>
              <a:chOff x="1662113" y="1735139"/>
              <a:chExt cx="192088" cy="506413"/>
            </a:xfrm>
          </p:grpSpPr>
          <p:sp>
            <p:nvSpPr>
              <p:cNvPr id="81" name="Freeform 10">
                <a:extLst>
                  <a:ext uri="{FF2B5EF4-FFF2-40B4-BE49-F238E27FC236}">
                    <a16:creationId xmlns:a16="http://schemas.microsoft.com/office/drawing/2014/main" id="{CA44D3E2-A545-1D4C-AC39-CAAB1C15C096}"/>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solidFill>
                <a:srgbClr val="B7C5C8"/>
              </a:solid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82" name="Freeform 12">
                <a:extLst>
                  <a:ext uri="{FF2B5EF4-FFF2-40B4-BE49-F238E27FC236}">
                    <a16:creationId xmlns:a16="http://schemas.microsoft.com/office/drawing/2014/main" id="{2258B393-F7B7-4E49-C1CC-E1528CC039D9}"/>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83" name="Oval 13">
                <a:extLst>
                  <a:ext uri="{FF2B5EF4-FFF2-40B4-BE49-F238E27FC236}">
                    <a16:creationId xmlns:a16="http://schemas.microsoft.com/office/drawing/2014/main" id="{89FB5734-D7F8-8014-7819-D6F44A0A6F0B}"/>
                  </a:ext>
                </a:extLst>
              </p:cNvPr>
              <p:cNvSpPr>
                <a:spLocks noChangeArrowheads="1"/>
              </p:cNvSpPr>
              <p:nvPr/>
            </p:nvSpPr>
            <p:spPr bwMode="auto">
              <a:xfrm>
                <a:off x="1730375" y="2120902"/>
                <a:ext cx="60325" cy="603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84" name="Freeform 11">
                <a:extLst>
                  <a:ext uri="{FF2B5EF4-FFF2-40B4-BE49-F238E27FC236}">
                    <a16:creationId xmlns:a16="http://schemas.microsoft.com/office/drawing/2014/main" id="{19E9BA43-FC1C-ABFF-922A-55686E741500}"/>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grpSp>
        <p:grpSp>
          <p:nvGrpSpPr>
            <p:cNvPr id="76" name="Gruppieren 366">
              <a:extLst>
                <a:ext uri="{FF2B5EF4-FFF2-40B4-BE49-F238E27FC236}">
                  <a16:creationId xmlns:a16="http://schemas.microsoft.com/office/drawing/2014/main" id="{58485D8B-ECCC-F932-2BF7-3CFEA586BD32}"/>
                </a:ext>
              </a:extLst>
            </p:cNvPr>
            <p:cNvGrpSpPr/>
            <p:nvPr/>
          </p:nvGrpSpPr>
          <p:grpSpPr>
            <a:xfrm flipV="1">
              <a:off x="1662113" y="2062231"/>
              <a:ext cx="192088" cy="506413"/>
              <a:chOff x="1662113" y="1735139"/>
              <a:chExt cx="192088" cy="506413"/>
            </a:xfrm>
            <a:noFill/>
          </p:grpSpPr>
          <p:sp>
            <p:nvSpPr>
              <p:cNvPr id="77" name="Freeform 10">
                <a:extLst>
                  <a:ext uri="{FF2B5EF4-FFF2-40B4-BE49-F238E27FC236}">
                    <a16:creationId xmlns:a16="http://schemas.microsoft.com/office/drawing/2014/main" id="{A59B406F-96C1-16E5-90E1-6441FF6FE845}"/>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grp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78" name="Freeform 11">
                <a:extLst>
                  <a:ext uri="{FF2B5EF4-FFF2-40B4-BE49-F238E27FC236}">
                    <a16:creationId xmlns:a16="http://schemas.microsoft.com/office/drawing/2014/main" id="{6DBCBA41-CCCC-52E1-E578-EDACC105318A}"/>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grp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79" name="Freeform 12">
                <a:extLst>
                  <a:ext uri="{FF2B5EF4-FFF2-40B4-BE49-F238E27FC236}">
                    <a16:creationId xmlns:a16="http://schemas.microsoft.com/office/drawing/2014/main" id="{80568CCC-867C-2E58-2D1B-40D1DA9D0ADA}"/>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80" name="Oval 13">
                <a:extLst>
                  <a:ext uri="{FF2B5EF4-FFF2-40B4-BE49-F238E27FC236}">
                    <a16:creationId xmlns:a16="http://schemas.microsoft.com/office/drawing/2014/main" id="{7E75DD6E-DC77-0D50-5E87-5DD517FBEE34}"/>
                  </a:ext>
                </a:extLst>
              </p:cNvPr>
              <p:cNvSpPr>
                <a:spLocks noChangeArrowheads="1"/>
              </p:cNvSpPr>
              <p:nvPr/>
            </p:nvSpPr>
            <p:spPr bwMode="auto">
              <a:xfrm>
                <a:off x="1730375" y="2120902"/>
                <a:ext cx="60325" cy="60325"/>
              </a:xfrm>
              <a:prstGeom prst="ellipse">
                <a:avLst/>
              </a:prstGeom>
              <a:grp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grpSp>
      </p:grpSp>
      <p:pic>
        <p:nvPicPr>
          <p:cNvPr id="3" name="Grafik 2">
            <a:extLst>
              <a:ext uri="{FF2B5EF4-FFF2-40B4-BE49-F238E27FC236}">
                <a16:creationId xmlns:a16="http://schemas.microsoft.com/office/drawing/2014/main" id="{A0F56AD8-50A5-E286-5035-D7F56AB7F0F8}"/>
              </a:ext>
            </a:extLst>
          </p:cNvPr>
          <p:cNvPicPr>
            <a:picLocks noChangeAspect="1"/>
          </p:cNvPicPr>
          <p:nvPr/>
        </p:nvPicPr>
        <p:blipFill>
          <a:blip r:embed="rId3"/>
          <a:stretch>
            <a:fillRect/>
          </a:stretch>
        </p:blipFill>
        <p:spPr>
          <a:xfrm>
            <a:off x="4055998" y="2849492"/>
            <a:ext cx="2723240" cy="2564118"/>
          </a:xfrm>
          <a:prstGeom prst="rect">
            <a:avLst/>
          </a:prstGeom>
        </p:spPr>
      </p:pic>
      <p:sp>
        <p:nvSpPr>
          <p:cNvPr id="4" name="Rechteck 3">
            <a:extLst>
              <a:ext uri="{FF2B5EF4-FFF2-40B4-BE49-F238E27FC236}">
                <a16:creationId xmlns:a16="http://schemas.microsoft.com/office/drawing/2014/main" id="{24EC59B7-A16D-8301-E912-2E48C9C90294}"/>
              </a:ext>
            </a:extLst>
          </p:cNvPr>
          <p:cNvSpPr/>
          <p:nvPr/>
        </p:nvSpPr>
        <p:spPr bwMode="auto">
          <a:xfrm>
            <a:off x="658561" y="1835672"/>
            <a:ext cx="766085" cy="172625"/>
          </a:xfrm>
          <a:prstGeom prst="rect">
            <a:avLst/>
          </a:prstGeom>
          <a:solidFill>
            <a:schemeClr val="accent3">
              <a:lumMod val="20000"/>
              <a:lumOff val="80000"/>
            </a:schemeClr>
          </a:solidFill>
          <a:ln w="6350">
            <a:noFill/>
            <a:miter lim="800000"/>
            <a:headEnd/>
            <a:tailEnd/>
          </a:ln>
        </p:spPr>
        <p:txBody>
          <a:bodyPr lIns="36000" tIns="0" rIns="36000" bIns="54000" rtlCol="0" anchor="b" anchorCtr="0">
            <a:noAutofit/>
          </a:bodyPr>
          <a:lstStyle/>
          <a:p>
            <a:pPr algn="ctr" defTabSz="963613" eaLnBrk="0" hangingPunct="0">
              <a:spcBef>
                <a:spcPts val="200"/>
              </a:spcBef>
              <a:buClrTx/>
              <a:tabLst>
                <a:tab pos="1257300" algn="l"/>
              </a:tabLst>
            </a:pPr>
            <a:endParaRPr lang="de-DE" sz="600" dirty="0">
              <a:solidFill>
                <a:schemeClr val="bg2"/>
              </a:solidFill>
              <a:latin typeface="DWS Sans Light" panose="02010404010101010104" pitchFamily="50" charset="0"/>
              <a:cs typeface="DWS Sans Light" panose="02010404010101010104" pitchFamily="50" charset="0"/>
            </a:endParaRPr>
          </a:p>
          <a:p>
            <a:pPr algn="ctr" defTabSz="963613" eaLnBrk="0" hangingPunct="0">
              <a:spcBef>
                <a:spcPts val="200"/>
              </a:spcBef>
              <a:buClrTx/>
              <a:tabLst>
                <a:tab pos="1257300" algn="l"/>
              </a:tabLst>
            </a:pPr>
            <a:endParaRPr lang="de-DE" sz="600" dirty="0">
              <a:solidFill>
                <a:schemeClr val="bg2"/>
              </a:solidFill>
              <a:latin typeface="DWS Sans Light" panose="02010404010101010104" pitchFamily="50" charset="0"/>
              <a:cs typeface="DWS Sans Light" panose="02010404010101010104" pitchFamily="50" charset="0"/>
            </a:endParaRPr>
          </a:p>
          <a:p>
            <a:pPr algn="ctr" defTabSz="963613" eaLnBrk="0" hangingPunct="0">
              <a:spcBef>
                <a:spcPts val="200"/>
              </a:spcBef>
              <a:buClrTx/>
              <a:tabLst>
                <a:tab pos="1257300" algn="l"/>
              </a:tabLst>
            </a:pPr>
            <a:endParaRPr lang="de-DE" sz="600" dirty="0">
              <a:solidFill>
                <a:schemeClr val="bg2"/>
              </a:solidFill>
              <a:latin typeface="DWS Sans Light" panose="02010404010101010104" pitchFamily="50" charset="0"/>
              <a:cs typeface="DWS Sans Light" panose="02010404010101010104" pitchFamily="50" charset="0"/>
            </a:endParaRPr>
          </a:p>
          <a:p>
            <a:pPr algn="ctr" defTabSz="963613" eaLnBrk="0" hangingPunct="0">
              <a:spcBef>
                <a:spcPts val="200"/>
              </a:spcBef>
              <a:buClrTx/>
              <a:tabLst>
                <a:tab pos="1257300" algn="l"/>
              </a:tabLst>
            </a:pPr>
            <a:endParaRPr lang="de-DE" sz="600" dirty="0">
              <a:solidFill>
                <a:schemeClr val="bg2"/>
              </a:solidFill>
              <a:latin typeface="DWS Sans Light" panose="02010404010101010104" pitchFamily="50" charset="0"/>
              <a:cs typeface="DWS Sans Light" panose="02010404010101010104" pitchFamily="50" charset="0"/>
            </a:endParaRPr>
          </a:p>
          <a:p>
            <a:pPr algn="ctr" defTabSz="963613" eaLnBrk="0" hangingPunct="0">
              <a:spcBef>
                <a:spcPts val="200"/>
              </a:spcBef>
              <a:buClrTx/>
              <a:tabLst>
                <a:tab pos="1257300" algn="l"/>
              </a:tabLst>
            </a:pPr>
            <a:endParaRPr lang="de-DE" sz="600" dirty="0">
              <a:solidFill>
                <a:schemeClr val="bg2"/>
              </a:solidFill>
              <a:latin typeface="DWS Sans Light" panose="02010404010101010104" pitchFamily="50" charset="0"/>
              <a:cs typeface="DWS Sans Light" panose="02010404010101010104" pitchFamily="50" charset="0"/>
            </a:endParaRPr>
          </a:p>
          <a:p>
            <a:pPr algn="ctr" defTabSz="963613" eaLnBrk="0" hangingPunct="0">
              <a:spcBef>
                <a:spcPts val="200"/>
              </a:spcBef>
              <a:buClrTx/>
              <a:tabLst>
                <a:tab pos="1257300" algn="l"/>
              </a:tabLst>
            </a:pPr>
            <a:r>
              <a:rPr lang="de-DE" sz="600" dirty="0">
                <a:solidFill>
                  <a:schemeClr val="bg2"/>
                </a:solidFill>
                <a:latin typeface="DWS Sans Light" panose="02010404010101010104" pitchFamily="50" charset="0"/>
                <a:cs typeface="DWS Sans Light" panose="02010404010101010104" pitchFamily="50" charset="0"/>
              </a:rPr>
              <a:t>Madeleine Ronner</a:t>
            </a:r>
          </a:p>
        </p:txBody>
      </p:sp>
      <p:pic>
        <p:nvPicPr>
          <p:cNvPr id="5" name="Grafik 4">
            <a:extLst>
              <a:ext uri="{FF2B5EF4-FFF2-40B4-BE49-F238E27FC236}">
                <a16:creationId xmlns:a16="http://schemas.microsoft.com/office/drawing/2014/main" id="{2C0D26D3-348D-367D-D8F3-6ACD0C51FF82}"/>
              </a:ext>
            </a:extLst>
          </p:cNvPr>
          <p:cNvPicPr>
            <a:picLocks noChangeAspect="1"/>
          </p:cNvPicPr>
          <p:nvPr/>
        </p:nvPicPr>
        <p:blipFill>
          <a:blip r:embed="rId4"/>
          <a:stretch>
            <a:fillRect/>
          </a:stretch>
        </p:blipFill>
        <p:spPr>
          <a:xfrm>
            <a:off x="644003" y="951053"/>
            <a:ext cx="780643" cy="896293"/>
          </a:xfrm>
          <a:prstGeom prst="rect">
            <a:avLst/>
          </a:prstGeom>
        </p:spPr>
      </p:pic>
    </p:spTree>
    <p:extLst>
      <p:ext uri="{BB962C8B-B14F-4D97-AF65-F5344CB8AC3E}">
        <p14:creationId xmlns:p14="http://schemas.microsoft.com/office/powerpoint/2010/main" val="10955123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el 32"/>
          <p:cNvSpPr>
            <a:spLocks noGrp="1"/>
          </p:cNvSpPr>
          <p:nvPr>
            <p:ph type="title"/>
          </p:nvPr>
        </p:nvSpPr>
        <p:spPr>
          <a:xfrm>
            <a:off x="600362" y="671760"/>
            <a:ext cx="6702138" cy="204671"/>
          </a:xfrm>
        </p:spPr>
        <p:txBody>
          <a:bodyPr/>
          <a:lstStyle/>
          <a:p>
            <a:r>
              <a:rPr lang="it-IT" sz="1400" dirty="0"/>
              <a:t>La diversificazione rimane essenziale – proprio perché i mercati sono così ottimisti.</a:t>
            </a:r>
            <a:endParaRPr lang="de-DE" sz="1400" dirty="0"/>
          </a:p>
        </p:txBody>
      </p:sp>
      <p:sp>
        <p:nvSpPr>
          <p:cNvPr id="34" name="Textplatzhalter 33"/>
          <p:cNvSpPr>
            <a:spLocks noGrp="1"/>
          </p:cNvSpPr>
          <p:nvPr>
            <p:ph type="body" sz="quarter" idx="12"/>
          </p:nvPr>
        </p:nvSpPr>
        <p:spPr>
          <a:xfrm>
            <a:off x="612278" y="914720"/>
            <a:ext cx="3600346" cy="6038550"/>
          </a:xfrm>
        </p:spPr>
        <p:txBody>
          <a:bodyPr vert="horz" wrap="square" lIns="0" tIns="0" rIns="0" bIns="0" rtlCol="0">
            <a:noAutofit/>
          </a:bodyPr>
          <a:lstStyle/>
          <a:p>
            <a:r>
              <a:rPr lang="de-DE" sz="900" b="0" dirty="0">
                <a:solidFill>
                  <a:schemeClr val="bg2"/>
                </a:solidFill>
                <a:latin typeface="DWS Sans Light" panose="02010404010101010104" pitchFamily="50" charset="0"/>
                <a:cs typeface="DWS Sans Light" panose="02010404010101010104" pitchFamily="50" charset="0"/>
              </a:rPr>
              <a:t> 	</a:t>
            </a:r>
            <a:r>
              <a:rPr lang="it-IT" sz="900" b="0" dirty="0">
                <a:solidFill>
                  <a:schemeClr val="bg2"/>
                </a:solidFill>
                <a:latin typeface="DWS Sans Light" panose="02010404010101010104" pitchFamily="50" charset="0"/>
                <a:cs typeface="DWS Sans Light" panose="02010404010101010104" pitchFamily="50" charset="0"/>
              </a:rPr>
              <a:t>L’oro e l’argento continuano a figurare tra le 	top asset class, anche se i prezzi sono 	momentaneamente scesi bruscamente alla 	fine di gennaio. Dall’inizio dell’anno, l’oro è 	salito del 15% e l’argento addirittura 	del 23%. “Il	dollaro statunitense e il franco svizzero, che 	tradizionalmente sono considerati beni rifugio, al 	momento non stanno svolgendo questo ruolo. Lo stesso vale per le obbligazioni governative”, afferma Vera </a:t>
            </a:r>
            <a:r>
              <a:rPr lang="it-IT" sz="900" b="0" dirty="0" err="1">
                <a:solidFill>
                  <a:schemeClr val="bg2"/>
                </a:solidFill>
                <a:latin typeface="DWS Sans Light" panose="02010404010101010104" pitchFamily="50" charset="0"/>
                <a:cs typeface="DWS Sans Light" panose="02010404010101010104" pitchFamily="50" charset="0"/>
              </a:rPr>
              <a:t>Fehling</a:t>
            </a:r>
            <a:r>
              <a:rPr lang="it-IT" sz="900" b="0" dirty="0">
                <a:solidFill>
                  <a:schemeClr val="bg2"/>
                </a:solidFill>
                <a:latin typeface="DWS Sans Light" panose="02010404010101010104" pitchFamily="50" charset="0"/>
                <a:cs typeface="DWS Sans Light" panose="02010404010101010104" pitchFamily="50" charset="0"/>
              </a:rPr>
              <a:t>, </a:t>
            </a:r>
            <a:r>
              <a:rPr lang="it-IT" sz="900" b="0" dirty="0" err="1">
                <a:solidFill>
                  <a:schemeClr val="bg2"/>
                </a:solidFill>
                <a:latin typeface="DWS Sans Light" panose="02010404010101010104" pitchFamily="50" charset="0"/>
                <a:cs typeface="DWS Sans Light" panose="02010404010101010104" pitchFamily="50" charset="0"/>
              </a:rPr>
              <a:t>Chief</a:t>
            </a:r>
            <a:r>
              <a:rPr lang="it-IT" sz="900" b="0" dirty="0">
                <a:solidFill>
                  <a:schemeClr val="bg2"/>
                </a:solidFill>
                <a:latin typeface="DWS Sans Light" panose="02010404010101010104" pitchFamily="50" charset="0"/>
                <a:cs typeface="DWS Sans Light" panose="02010404010101010104" pitchFamily="50" charset="0"/>
              </a:rPr>
              <a:t> Investment </a:t>
            </a:r>
            <a:r>
              <a:rPr lang="it-IT" sz="900" b="0" dirty="0" err="1">
                <a:solidFill>
                  <a:schemeClr val="bg2"/>
                </a:solidFill>
                <a:latin typeface="DWS Sans Light" panose="02010404010101010104" pitchFamily="50" charset="0"/>
                <a:cs typeface="DWS Sans Light" panose="02010404010101010104" pitchFamily="50" charset="0"/>
              </a:rPr>
              <a:t>Officer</a:t>
            </a:r>
            <a:r>
              <a:rPr lang="it-IT" sz="900" b="0" dirty="0">
                <a:solidFill>
                  <a:schemeClr val="bg2"/>
                </a:solidFill>
                <a:latin typeface="DWS Sans Light" panose="02010404010101010104" pitchFamily="50" charset="0"/>
                <a:cs typeface="DWS Sans Light" panose="02010404010101010104" pitchFamily="50" charset="0"/>
              </a:rPr>
              <a:t> per l’Europa Occidentale. I rendimenti dei titoli di Stato a lungo termine sono aumentati o, nel migliore dei casi, stagnati, il che significa che i prezzi sono generalmente scesi. Ci sono diversi motivi per cui ci si potrebbe aspettare un certo nervosismo sui mercati: valutazioni elevate delle azioni e spread di credito estremamente bassi nelle obbligazioni societarie. Tuttavia, i mercati obbligazionari sembrano imperturbati. L’indice di volatilità MOVE per i mercati obbligazionari è in calo già da un po’ di tempo. Nel segmento delle obbligazioni societarie, attualmente vi sono pochi segnali che indichino un ampliamento generalizzato degli spread di credito. Cosa significa questo per il posizionamento del portafoglio? “Continuiamo a puntare su un mix equilibrato”, afferma </a:t>
            </a:r>
            <a:r>
              <a:rPr lang="it-IT" sz="900" b="0" dirty="0" err="1">
                <a:solidFill>
                  <a:schemeClr val="bg2"/>
                </a:solidFill>
                <a:latin typeface="DWS Sans Light" panose="02010404010101010104" pitchFamily="50" charset="0"/>
                <a:cs typeface="DWS Sans Light" panose="02010404010101010104" pitchFamily="50" charset="0"/>
              </a:rPr>
              <a:t>Fehling</a:t>
            </a:r>
            <a:r>
              <a:rPr lang="it-IT" sz="900" b="0" dirty="0">
                <a:solidFill>
                  <a:schemeClr val="bg2"/>
                </a:solidFill>
                <a:latin typeface="DWS Sans Light" panose="02010404010101010104" pitchFamily="50" charset="0"/>
                <a:cs typeface="DWS Sans Light" panose="02010404010101010104" pitchFamily="50" charset="0"/>
              </a:rPr>
              <a:t>. Per le azioni, la stagione degli utili sarà decisiva. Finché gli utili aziendali rimarranno solidi, ciò dovrebbe sostenere i prezzi azionari. Anche le obbligazioni societarie restano uno strumento di diversificazione significativo. L’oro? “Riteniamo che il caso per gli acquisti di oro rimanga valido, soprattutto perché le principali banche centrali intendono ancora aumentare le loro riserve”, spiega </a:t>
            </a:r>
            <a:r>
              <a:rPr lang="it-IT" sz="900" b="0" dirty="0" err="1">
                <a:solidFill>
                  <a:schemeClr val="bg2"/>
                </a:solidFill>
                <a:latin typeface="DWS Sans Light" panose="02010404010101010104" pitchFamily="50" charset="0"/>
                <a:cs typeface="DWS Sans Light" panose="02010404010101010104" pitchFamily="50" charset="0"/>
              </a:rPr>
              <a:t>Fehling</a:t>
            </a:r>
            <a:r>
              <a:rPr lang="it-IT" sz="900" b="0" dirty="0">
                <a:solidFill>
                  <a:schemeClr val="bg2"/>
                </a:solidFill>
                <a:latin typeface="DWS Sans Light" panose="02010404010101010104" pitchFamily="50" charset="0"/>
                <a:cs typeface="DWS Sans Light" panose="02010404010101010104" pitchFamily="50" charset="0"/>
              </a:rPr>
              <a:t>. Dopo i forti rialzi dei prezzi degli ultimi mesi, correzioni, come quella osservata alla fine di gennaio, non sono sorprendenti e, anzi, rappresentano uno sviluppo sano.</a:t>
            </a:r>
          </a:p>
          <a:p>
            <a:pPr defTabSz="717550"/>
            <a:endParaRPr lang="de-DE" sz="900" b="0" dirty="0">
              <a:solidFill>
                <a:schemeClr val="bg2"/>
              </a:solidFill>
              <a:latin typeface="DWS Sans Light" panose="02010404010101010104" pitchFamily="50" charset="0"/>
            </a:endParaRPr>
          </a:p>
        </p:txBody>
      </p:sp>
      <p:sp>
        <p:nvSpPr>
          <p:cNvPr id="35" name="Textplatzhalter 34"/>
          <p:cNvSpPr>
            <a:spLocks noGrp="1"/>
          </p:cNvSpPr>
          <p:nvPr>
            <p:ph type="body" sz="quarter" idx="15"/>
          </p:nvPr>
        </p:nvSpPr>
        <p:spPr>
          <a:xfrm>
            <a:off x="612278" y="416147"/>
            <a:ext cx="161904" cy="169277"/>
          </a:xfrm>
        </p:spPr>
        <p:txBody>
          <a:bodyPr vert="horz" wrap="none" lIns="0" tIns="0" rIns="0" bIns="0" rtlCol="0" anchor="ctr">
            <a:spAutoFit/>
          </a:bodyPr>
          <a:lstStyle/>
          <a:p>
            <a:pPr lvl="1"/>
            <a:r>
              <a:rPr lang="de-DE" sz="1100" dirty="0">
                <a:solidFill>
                  <a:schemeClr val="accent2"/>
                </a:solidFill>
                <a:latin typeface="DWS Sans Light" panose="02010404010101010104" pitchFamily="50" charset="0"/>
                <a:cs typeface="DWS Sans Light" panose="02010404010101010104" pitchFamily="50" charset="0"/>
              </a:rPr>
              <a:t>#3</a:t>
            </a:r>
          </a:p>
        </p:txBody>
      </p:sp>
      <p:sp>
        <p:nvSpPr>
          <p:cNvPr id="36" name="Textplatzhalter 35"/>
          <p:cNvSpPr>
            <a:spLocks noGrp="1"/>
          </p:cNvSpPr>
          <p:nvPr>
            <p:ph type="body" sz="quarter" idx="16"/>
          </p:nvPr>
        </p:nvSpPr>
        <p:spPr>
          <a:xfrm>
            <a:off x="850786" y="414952"/>
            <a:ext cx="3766930" cy="169277"/>
          </a:xfrm>
        </p:spPr>
        <p:txBody>
          <a:bodyPr/>
          <a:lstStyle/>
          <a:p>
            <a:r>
              <a:rPr lang="de-DE" dirty="0">
                <a:latin typeface="DWS Slab Light" panose="02010404010101010104" pitchFamily="50" charset="0"/>
              </a:rPr>
              <a:t>Multi-Asset/Fixed Income</a:t>
            </a:r>
          </a:p>
        </p:txBody>
      </p:sp>
      <p:sp>
        <p:nvSpPr>
          <p:cNvPr id="50" name="Textplatzhalter 49"/>
          <p:cNvSpPr>
            <a:spLocks noGrp="1"/>
          </p:cNvSpPr>
          <p:nvPr>
            <p:ph type="body" sz="quarter" idx="44"/>
          </p:nvPr>
        </p:nvSpPr>
        <p:spPr>
          <a:xfrm>
            <a:off x="4334598" y="996755"/>
            <a:ext cx="3071811" cy="225264"/>
          </a:xfrm>
        </p:spPr>
        <p:txBody>
          <a:bodyPr/>
          <a:lstStyle/>
          <a:p>
            <a:r>
              <a:rPr lang="it-IT" b="0" dirty="0">
                <a:latin typeface="DWS Sans Light" panose="02010404010101010104" pitchFamily="50" charset="0"/>
                <a:cs typeface="DWS Sans Light" panose="02010404010101010104" pitchFamily="50" charset="0"/>
              </a:rPr>
              <a:t>Obbligazioni del governo U.S (10 anni)</a:t>
            </a:r>
            <a:endParaRPr lang="en-GB" b="0" dirty="0">
              <a:latin typeface="DWS Sans Light" panose="02010404010101010104" pitchFamily="50" charset="0"/>
              <a:cs typeface="DWS Sans Light" panose="02010404010101010104" pitchFamily="50" charset="0"/>
            </a:endParaRPr>
          </a:p>
          <a:p>
            <a:endParaRPr lang="de-DE" b="0" dirty="0">
              <a:latin typeface="DWS Sans Light" panose="02010404010101010104" pitchFamily="50" charset="0"/>
              <a:cs typeface="DWS Sans Light" panose="02010404010101010104" pitchFamily="50" charset="0"/>
            </a:endParaRPr>
          </a:p>
        </p:txBody>
      </p:sp>
      <p:sp>
        <p:nvSpPr>
          <p:cNvPr id="51" name="Textplatzhalter 50"/>
          <p:cNvSpPr>
            <a:spLocks noGrp="1"/>
          </p:cNvSpPr>
          <p:nvPr>
            <p:ph type="body" sz="quarter" idx="45"/>
          </p:nvPr>
        </p:nvSpPr>
        <p:spPr>
          <a:xfrm>
            <a:off x="4348383" y="1176704"/>
            <a:ext cx="3071811" cy="136384"/>
          </a:xfrm>
        </p:spPr>
        <p:txBody>
          <a:bodyPr vert="horz" wrap="square" lIns="0" tIns="0" rIns="0" bIns="0" rtlCol="0">
            <a:spAutoFit/>
          </a:bodyPr>
          <a:lstStyle/>
          <a:p>
            <a:r>
              <a:rPr lang="it-IT" sz="900" dirty="0">
                <a:solidFill>
                  <a:schemeClr val="bg2"/>
                </a:solidFill>
                <a:latin typeface="DWS Sans Light" panose="02010404010101010104" pitchFamily="50" charset="0"/>
                <a:cs typeface="DWS Sans Light" panose="02010404010101010104" pitchFamily="50" charset="0"/>
              </a:rPr>
              <a:t>Prospettive positive</a:t>
            </a:r>
          </a:p>
        </p:txBody>
      </p:sp>
      <p:sp>
        <p:nvSpPr>
          <p:cNvPr id="53" name="Textplatzhalter 52"/>
          <p:cNvSpPr>
            <a:spLocks noGrp="1"/>
          </p:cNvSpPr>
          <p:nvPr>
            <p:ph type="body" sz="quarter" idx="47"/>
          </p:nvPr>
        </p:nvSpPr>
        <p:spPr>
          <a:xfrm>
            <a:off x="4334598" y="2500675"/>
            <a:ext cx="3071811" cy="225264"/>
          </a:xfrm>
        </p:spPr>
        <p:txBody>
          <a:bodyPr/>
          <a:lstStyle/>
          <a:p>
            <a:r>
              <a:rPr lang="it-IT" b="0" dirty="0">
                <a:latin typeface="DWS Sans Light" panose="02010404010101010104" pitchFamily="50" charset="0"/>
                <a:cs typeface="DWS Sans Light" panose="02010404010101010104" pitchFamily="50" charset="0"/>
              </a:rPr>
              <a:t>Obbligazioni del governo tedesco (10 anni)</a:t>
            </a:r>
            <a:endParaRPr lang="en-GB" b="0" dirty="0">
              <a:latin typeface="DWS Sans Light" panose="02010404010101010104" pitchFamily="50" charset="0"/>
              <a:cs typeface="DWS Sans Light" panose="02010404010101010104" pitchFamily="50" charset="0"/>
            </a:endParaRPr>
          </a:p>
        </p:txBody>
      </p:sp>
      <p:sp>
        <p:nvSpPr>
          <p:cNvPr id="54" name="Textplatzhalter 53"/>
          <p:cNvSpPr>
            <a:spLocks noGrp="1"/>
          </p:cNvSpPr>
          <p:nvPr>
            <p:ph type="body" sz="quarter" idx="48"/>
          </p:nvPr>
        </p:nvSpPr>
        <p:spPr>
          <a:xfrm>
            <a:off x="4346425" y="2702981"/>
            <a:ext cx="3071811" cy="136384"/>
          </a:xfrm>
        </p:spPr>
        <p:txBody>
          <a:bodyPr vert="horz" wrap="square" lIns="0" tIns="0" rIns="0" bIns="0" rtlCol="0">
            <a:spAutoFit/>
          </a:bodyPr>
          <a:lstStyle/>
          <a:p>
            <a:r>
              <a:rPr lang="it-IT" sz="900" dirty="0">
                <a:solidFill>
                  <a:schemeClr val="bg2"/>
                </a:solidFill>
                <a:latin typeface="DWS Sans Light" panose="02010404010101010104" pitchFamily="50" charset="0"/>
                <a:cs typeface="DWS Sans Light" panose="02010404010101010104" pitchFamily="50" charset="0"/>
              </a:rPr>
              <a:t>I rendimenti probabilmente subiranno un lieve calo.</a:t>
            </a:r>
          </a:p>
        </p:txBody>
      </p:sp>
      <p:sp>
        <p:nvSpPr>
          <p:cNvPr id="55" name="Textplatzhalter 54"/>
          <p:cNvSpPr>
            <a:spLocks noGrp="1"/>
          </p:cNvSpPr>
          <p:nvPr>
            <p:ph type="body" sz="quarter" idx="49"/>
          </p:nvPr>
        </p:nvSpPr>
        <p:spPr>
          <a:xfrm>
            <a:off x="5068237" y="2913558"/>
            <a:ext cx="2278713" cy="735907"/>
          </a:xfrm>
        </p:spPr>
        <p:txBody>
          <a:bodyPr vert="horz" wrap="square" lIns="0" tIns="0" rIns="0" bIns="0" rtlCol="0">
            <a:spAutoFit/>
          </a:bodyPr>
          <a:lstStyle/>
          <a:p>
            <a:pPr>
              <a:spcBef>
                <a:spcPts val="0"/>
              </a:spcBef>
            </a:pPr>
            <a:r>
              <a:rPr lang="it-IT" b="0" dirty="0">
                <a:solidFill>
                  <a:schemeClr val="bg2"/>
                </a:solidFill>
                <a:latin typeface="DWS Sans Light" panose="02010404010101010104" pitchFamily="50" charset="0"/>
                <a:cs typeface="DWS Sans Light" panose="02010404010101010104" pitchFamily="50" charset="0"/>
              </a:rPr>
              <a:t>- </a:t>
            </a:r>
            <a:r>
              <a:rPr lang="it-IT" sz="900" b="0" dirty="0">
                <a:solidFill>
                  <a:schemeClr val="bg2"/>
                </a:solidFill>
                <a:latin typeface="DWS Sans Light" panose="02010404010101010104" pitchFamily="50" charset="0"/>
                <a:cs typeface="DWS Sans Light" panose="02010404010101010104" pitchFamily="50" charset="0"/>
              </a:rPr>
              <a:t>I Bund non sono riusciti a svolgere il loro ruolo di bene rifugio durante le recenti turbolenze di mercato. </a:t>
            </a:r>
          </a:p>
          <a:p>
            <a:pPr>
              <a:spcBef>
                <a:spcPts val="0"/>
              </a:spcBef>
            </a:pPr>
            <a:r>
              <a:rPr lang="it-IT" sz="900" b="0" dirty="0">
                <a:solidFill>
                  <a:schemeClr val="bg2"/>
                </a:solidFill>
                <a:latin typeface="DWS Sans Light" panose="02010404010101010104" pitchFamily="50" charset="0"/>
                <a:cs typeface="DWS Sans Light" panose="02010404010101010104" pitchFamily="50" charset="0"/>
              </a:rPr>
              <a:t>- Entro dicembre 2026 ci aspettiamo un lieve calo dei rendimenti.</a:t>
            </a:r>
          </a:p>
        </p:txBody>
      </p:sp>
      <p:sp>
        <p:nvSpPr>
          <p:cNvPr id="56" name="Textplatzhalter 55"/>
          <p:cNvSpPr>
            <a:spLocks noGrp="1"/>
          </p:cNvSpPr>
          <p:nvPr>
            <p:ph type="body" sz="quarter" idx="50"/>
          </p:nvPr>
        </p:nvSpPr>
        <p:spPr>
          <a:xfrm>
            <a:off x="4289611" y="3865106"/>
            <a:ext cx="3071811" cy="225264"/>
          </a:xfrm>
        </p:spPr>
        <p:txBody>
          <a:bodyPr/>
          <a:lstStyle/>
          <a:p>
            <a:r>
              <a:rPr lang="it-IT" b="0" dirty="0">
                <a:latin typeface="DWS Sans Light" panose="02010404010101010104" pitchFamily="50" charset="0"/>
                <a:cs typeface="DWS Sans Light" panose="02010404010101010104" pitchFamily="50" charset="0"/>
              </a:rPr>
              <a:t>Obbligazioni dei mercati emergenti</a:t>
            </a:r>
            <a:endParaRPr lang="en-GB" b="0" dirty="0">
              <a:latin typeface="DWS Sans Light" panose="02010404010101010104" pitchFamily="50" charset="0"/>
              <a:cs typeface="DWS Sans Light" panose="02010404010101010104" pitchFamily="50" charset="0"/>
            </a:endParaRPr>
          </a:p>
        </p:txBody>
      </p:sp>
      <p:sp>
        <p:nvSpPr>
          <p:cNvPr id="57" name="Textplatzhalter 56"/>
          <p:cNvSpPr>
            <a:spLocks noGrp="1"/>
          </p:cNvSpPr>
          <p:nvPr>
            <p:ph type="body" sz="quarter" idx="51"/>
          </p:nvPr>
        </p:nvSpPr>
        <p:spPr>
          <a:xfrm>
            <a:off x="4316218" y="4063373"/>
            <a:ext cx="3153818" cy="279115"/>
          </a:xfrm>
        </p:spPr>
        <p:txBody>
          <a:bodyPr vert="horz" wrap="square" lIns="0" tIns="0" rIns="0" bIns="0" rtlCol="0">
            <a:spAutoFit/>
          </a:bodyPr>
          <a:lstStyle/>
          <a:p>
            <a:r>
              <a:rPr lang="it-IT" sz="900" dirty="0">
                <a:solidFill>
                  <a:schemeClr val="bg2"/>
                </a:solidFill>
                <a:latin typeface="DWS Sans Light" panose="02010404010101010104" pitchFamily="50" charset="0"/>
                <a:cs typeface="DWS Sans Light" panose="02010404010101010104" pitchFamily="50" charset="0"/>
              </a:rPr>
              <a:t>Un potenziale di rendimento più elevato comporta rischi più elevati.</a:t>
            </a:r>
          </a:p>
        </p:txBody>
      </p:sp>
      <p:sp>
        <p:nvSpPr>
          <p:cNvPr id="58" name="Textplatzhalter 57"/>
          <p:cNvSpPr>
            <a:spLocks noGrp="1"/>
          </p:cNvSpPr>
          <p:nvPr>
            <p:ph type="body" sz="quarter" idx="52"/>
          </p:nvPr>
        </p:nvSpPr>
        <p:spPr>
          <a:xfrm>
            <a:off x="5113766" y="4355913"/>
            <a:ext cx="2233184" cy="882742"/>
          </a:xfrm>
        </p:spPr>
        <p:txBody>
          <a:bodyPr vert="horz" wrap="square" lIns="0" tIns="0" rIns="0" bIns="0" rtlCol="0">
            <a:spAutoFit/>
          </a:bodyPr>
          <a:lstStyle/>
          <a:p>
            <a:pPr>
              <a:spcBef>
                <a:spcPts val="0"/>
              </a:spcBef>
            </a:pPr>
            <a:r>
              <a:rPr lang="it-IT" b="0" dirty="0">
                <a:solidFill>
                  <a:schemeClr val="bg2"/>
                </a:solidFill>
                <a:latin typeface="DWS Sans Light" panose="02010404010101010104" pitchFamily="50" charset="0"/>
                <a:cs typeface="DWS Sans Light" panose="02010404010101010104" pitchFamily="50" charset="0"/>
              </a:rPr>
              <a:t>- </a:t>
            </a:r>
            <a:r>
              <a:rPr lang="it-IT" sz="900" b="0" dirty="0">
                <a:solidFill>
                  <a:schemeClr val="bg2"/>
                </a:solidFill>
                <a:latin typeface="DWS Sans Light" panose="02010404010101010104" pitchFamily="50" charset="0"/>
                <a:cs typeface="DWS Sans Light" panose="02010404010101010104" pitchFamily="50" charset="0"/>
              </a:rPr>
              <a:t>La nostra valutazione delle obbligazioni dei mercati emergenti non è cambiata recentemente. </a:t>
            </a:r>
          </a:p>
          <a:p>
            <a:pPr>
              <a:spcBef>
                <a:spcPts val="0"/>
              </a:spcBef>
            </a:pPr>
            <a:r>
              <a:rPr lang="it-IT" sz="900" b="0" dirty="0">
                <a:solidFill>
                  <a:schemeClr val="bg2"/>
                </a:solidFill>
                <a:latin typeface="DWS Sans Light" panose="02010404010101010104" pitchFamily="50" charset="0"/>
                <a:cs typeface="DWS Sans Light" panose="02010404010101010104" pitchFamily="50" charset="0"/>
              </a:rPr>
              <a:t>- I livelli dei rendimenti restano interessanti, sebbene accompagnati da rischi corrispondentemente più elevati.</a:t>
            </a:r>
          </a:p>
        </p:txBody>
      </p:sp>
      <p:sp>
        <p:nvSpPr>
          <p:cNvPr id="59" name="Textplatzhalter 58"/>
          <p:cNvSpPr>
            <a:spLocks noGrp="1"/>
          </p:cNvSpPr>
          <p:nvPr>
            <p:ph type="body" sz="quarter" idx="53"/>
          </p:nvPr>
        </p:nvSpPr>
        <p:spPr>
          <a:xfrm>
            <a:off x="4334598" y="5434707"/>
            <a:ext cx="3071811" cy="225264"/>
          </a:xfrm>
        </p:spPr>
        <p:txBody>
          <a:bodyPr vert="horz" lIns="0" tIns="0" rIns="0" bIns="0" rtlCol="0">
            <a:normAutofit/>
          </a:bodyPr>
          <a:lstStyle/>
          <a:p>
            <a:r>
              <a:rPr lang="de-DE" b="0" dirty="0" err="1">
                <a:latin typeface="DWS Sans Light" panose="02010404010101010104" pitchFamily="50" charset="0"/>
                <a:cs typeface="DWS Sans Light" panose="02010404010101010104" pitchFamily="50" charset="0"/>
              </a:rPr>
              <a:t>Credito</a:t>
            </a:r>
            <a:endParaRPr lang="de-DE" b="0" dirty="0">
              <a:latin typeface="DWS Sans Light" panose="02010404010101010104" pitchFamily="50" charset="0"/>
              <a:cs typeface="DWS Sans Light" panose="02010404010101010104" pitchFamily="50" charset="0"/>
            </a:endParaRPr>
          </a:p>
        </p:txBody>
      </p:sp>
      <p:sp>
        <p:nvSpPr>
          <p:cNvPr id="62" name="Foliennummernplatzhalter 2"/>
          <p:cNvSpPr>
            <a:spLocks noGrp="1"/>
          </p:cNvSpPr>
          <p:nvPr>
            <p:ph type="sldNum" sz="quarter" idx="10"/>
          </p:nvPr>
        </p:nvSpPr>
        <p:spPr>
          <a:xfrm>
            <a:off x="6564831" y="10393610"/>
            <a:ext cx="497206" cy="90240"/>
          </a:xfrm>
        </p:spPr>
        <p:txBody>
          <a:bodyPr/>
          <a:lstStyle/>
          <a:p>
            <a:pPr algn="r"/>
            <a:r>
              <a:rPr lang="de-DE" dirty="0">
                <a:latin typeface="DWS Sans Light" panose="02010404010101010104" pitchFamily="2" charset="77"/>
                <a:cs typeface="DWS Sans Light" panose="02010404010101010104" pitchFamily="2" charset="77"/>
              </a:rPr>
              <a:t>3</a:t>
            </a:r>
          </a:p>
        </p:txBody>
      </p:sp>
      <p:sp>
        <p:nvSpPr>
          <p:cNvPr id="12" name="Textfeld 11"/>
          <p:cNvSpPr txBox="1"/>
          <p:nvPr/>
        </p:nvSpPr>
        <p:spPr bwMode="ltGray">
          <a:xfrm>
            <a:off x="4390797" y="5627520"/>
            <a:ext cx="1242961" cy="139590"/>
          </a:xfrm>
          <a:prstGeom prst="rect">
            <a:avLst/>
          </a:prstGeom>
        </p:spPr>
        <p:txBody>
          <a:bodyPr vert="horz" wrap="square" lIns="0" tIns="0" rIns="0" bIns="0" rtlCol="0">
            <a:spAutoFit/>
          </a:bodyPr>
          <a:lstStyle>
            <a:lvl1pPr eaLnBrk="1" hangingPunct="1">
              <a:lnSpc>
                <a:spcPct val="106000"/>
              </a:lnSpc>
              <a:spcBef>
                <a:spcPts val="800"/>
              </a:spcBef>
              <a:spcAft>
                <a:spcPts val="0"/>
              </a:spcAft>
              <a:defRPr sz="950" b="1">
                <a:solidFill>
                  <a:schemeClr val="bg2"/>
                </a:solidFill>
                <a:latin typeface="DWS Sans Light" panose="02010404010101010104" pitchFamily="50" charset="0"/>
                <a:ea typeface="ＭＳ Ｐゴシック" pitchFamily="-109" charset="-128"/>
                <a:cs typeface="DWS Sans Light" panose="02010404010101010104" pitchFamily="50" charset="0"/>
              </a:defRPr>
            </a:lvl1pPr>
            <a:lvl2pPr marL="0" marR="0" indent="0" defTabSz="914400" eaLnBrk="1" latinLnBrk="0" hangingPunct="1">
              <a:lnSpc>
                <a:spcPct val="100000"/>
              </a:lnSpc>
              <a:spcBef>
                <a:spcPts val="0"/>
              </a:spcBef>
              <a:spcAft>
                <a:spcPts val="0"/>
              </a:spcAft>
              <a:buClrTx/>
              <a:buSzTx/>
              <a:buFontTx/>
              <a:buNone/>
              <a:tabLst/>
              <a:defRPr sz="1000" b="1">
                <a:solidFill>
                  <a:schemeClr val="bg2"/>
                </a:solidFill>
                <a:latin typeface="+mn-lt"/>
                <a:ea typeface="ＭＳ Ｐゴシック" pitchFamily="-109" charset="-128"/>
              </a:defRPr>
            </a:lvl2pPr>
            <a:lvl3pPr marL="90000" indent="-90000" eaLnBrk="1" hangingPunct="1">
              <a:lnSpc>
                <a:spcPct val="106000"/>
              </a:lnSpc>
              <a:spcBef>
                <a:spcPts val="200"/>
              </a:spcBef>
              <a:spcAft>
                <a:spcPts val="0"/>
              </a:spcAft>
              <a:buFont typeface="Arial" panose="020B0604020202020204" pitchFamily="34" charset="0"/>
              <a:buChar char="_"/>
              <a:defRPr sz="1000">
                <a:solidFill>
                  <a:schemeClr val="bg2"/>
                </a:solidFill>
                <a:latin typeface="+mn-lt"/>
                <a:ea typeface="ＭＳ Ｐゴシック" pitchFamily="-109" charset="-128"/>
              </a:defRPr>
            </a:lvl3pPr>
            <a:lvl4pPr marL="180000" indent="-90000" eaLnBrk="1" hangingPunct="1">
              <a:lnSpc>
                <a:spcPct val="106000"/>
              </a:lnSpc>
              <a:spcBef>
                <a:spcPts val="200"/>
              </a:spcBef>
              <a:spcAft>
                <a:spcPts val="0"/>
              </a:spcAft>
              <a:buFont typeface="Arial" panose="020B0604020202020204" pitchFamily="34" charset="0"/>
              <a:buChar char="_"/>
              <a:defRPr sz="1000">
                <a:solidFill>
                  <a:schemeClr val="bg2"/>
                </a:solidFill>
                <a:latin typeface="+mn-lt"/>
                <a:ea typeface="ＭＳ Ｐゴシック" pitchFamily="-109" charset="-128"/>
              </a:defRPr>
            </a:lvl4pPr>
            <a:lvl5pPr marL="0" indent="0" eaLnBrk="1" hangingPunct="1">
              <a:lnSpc>
                <a:spcPct val="106000"/>
              </a:lnSpc>
              <a:spcBef>
                <a:spcPts val="1200"/>
              </a:spcBef>
              <a:spcAft>
                <a:spcPts val="0"/>
              </a:spcAft>
              <a:buFont typeface="Arial" panose="020B0604020202020204" pitchFamily="34" charset="0"/>
              <a:buNone/>
              <a:defRPr sz="1200">
                <a:solidFill>
                  <a:schemeClr val="accent3"/>
                </a:solidFill>
                <a:latin typeface="+mn-lt"/>
                <a:ea typeface="ＭＳ Ｐゴシック" pitchFamily="-109" charset="-128"/>
              </a:defRPr>
            </a:lvl5pPr>
            <a:lvl6pPr marL="1301711" indent="-196220" fontAlgn="base">
              <a:spcBef>
                <a:spcPct val="10000"/>
              </a:spcBef>
              <a:spcAft>
                <a:spcPct val="10000"/>
              </a:spcAft>
              <a:buClr>
                <a:schemeClr val="tx2"/>
              </a:buClr>
              <a:buFont typeface="Arial" charset="0"/>
              <a:buChar char="-"/>
              <a:defRPr sz="1500">
                <a:latin typeface="+mn-lt"/>
              </a:defRPr>
            </a:lvl6pPr>
            <a:lvl7pPr marL="1806276" indent="-196220" fontAlgn="base">
              <a:spcBef>
                <a:spcPct val="10000"/>
              </a:spcBef>
              <a:spcAft>
                <a:spcPct val="10000"/>
              </a:spcAft>
              <a:buClr>
                <a:schemeClr val="tx2"/>
              </a:buClr>
              <a:buFont typeface="Arial" charset="0"/>
              <a:buChar char="-"/>
              <a:defRPr sz="1500">
                <a:latin typeface="+mn-lt"/>
              </a:defRPr>
            </a:lvl7pPr>
            <a:lvl8pPr marL="2310842" indent="-196220" fontAlgn="base">
              <a:spcBef>
                <a:spcPct val="10000"/>
              </a:spcBef>
              <a:spcAft>
                <a:spcPct val="10000"/>
              </a:spcAft>
              <a:buClr>
                <a:schemeClr val="tx2"/>
              </a:buClr>
              <a:buFont typeface="Arial" charset="0"/>
              <a:buChar char="-"/>
              <a:defRPr sz="1500">
                <a:latin typeface="+mn-lt"/>
              </a:defRPr>
            </a:lvl8pPr>
            <a:lvl9pPr marL="2815408" indent="-196220" fontAlgn="base">
              <a:spcBef>
                <a:spcPct val="10000"/>
              </a:spcBef>
              <a:spcAft>
                <a:spcPct val="10000"/>
              </a:spcAft>
              <a:buClr>
                <a:schemeClr val="tx2"/>
              </a:buClr>
              <a:buFont typeface="Arial" charset="0"/>
              <a:buChar char="-"/>
              <a:defRPr sz="1500">
                <a:latin typeface="+mn-lt"/>
              </a:defRPr>
            </a:lvl9pPr>
          </a:lstStyle>
          <a:p>
            <a:pPr algn="ctr"/>
            <a:r>
              <a:rPr lang="en-GB" b="0" dirty="0"/>
              <a:t>Investment Grade</a:t>
            </a:r>
          </a:p>
        </p:txBody>
      </p:sp>
      <p:sp>
        <p:nvSpPr>
          <p:cNvPr id="66" name="Textfeld 65"/>
          <p:cNvSpPr txBox="1"/>
          <p:nvPr/>
        </p:nvSpPr>
        <p:spPr bwMode="ltGray">
          <a:xfrm>
            <a:off x="5990924" y="5627520"/>
            <a:ext cx="1237312" cy="139590"/>
          </a:xfrm>
          <a:prstGeom prst="rect">
            <a:avLst/>
          </a:prstGeom>
          <a:noFill/>
          <a:ln w="6350">
            <a:noFill/>
            <a:miter lim="800000"/>
            <a:headEnd/>
            <a:tailEnd/>
          </a:ln>
        </p:spPr>
        <p:txBody>
          <a:bodyPr wrap="square" lIns="0" tIns="0" rIns="0" bIns="0" rtlCol="0" anchor="t" anchorCtr="0">
            <a:spAutoFit/>
          </a:bodyPr>
          <a:lstStyle/>
          <a:p>
            <a:pPr algn="ctr" eaLnBrk="0" hangingPunct="0">
              <a:lnSpc>
                <a:spcPct val="106000"/>
              </a:lnSpc>
              <a:spcBef>
                <a:spcPts val="200"/>
              </a:spcBef>
              <a:buClrTx/>
            </a:pPr>
            <a:r>
              <a:rPr lang="de-DE" sz="950" dirty="0">
                <a:solidFill>
                  <a:schemeClr val="bg2"/>
                </a:solidFill>
                <a:latin typeface="DWS Sans Light" panose="02010404010101010104" pitchFamily="50" charset="0"/>
                <a:cs typeface="DWS Sans Light" panose="02010404010101010104" pitchFamily="50" charset="0"/>
              </a:rPr>
              <a:t>High Yield</a:t>
            </a:r>
          </a:p>
        </p:txBody>
      </p:sp>
      <p:sp>
        <p:nvSpPr>
          <p:cNvPr id="163" name="Textfeld 162"/>
          <p:cNvSpPr txBox="1"/>
          <p:nvPr/>
        </p:nvSpPr>
        <p:spPr bwMode="ltGray">
          <a:xfrm>
            <a:off x="4547524" y="5812863"/>
            <a:ext cx="221214" cy="146835"/>
          </a:xfrm>
          <a:prstGeom prst="rect">
            <a:avLst/>
          </a:prstGeom>
          <a:noFill/>
          <a:ln w="6350">
            <a:noFill/>
            <a:miter lim="800000"/>
            <a:headEnd/>
            <a:tailEnd/>
          </a:ln>
        </p:spPr>
        <p:txBody>
          <a:bodyPr wrap="none" lIns="0" tIns="0" rIns="0" bIns="0" rtlCol="0" anchor="t" anchorCtr="0">
            <a:spAutoFit/>
          </a:bodyPr>
          <a:lstStyle/>
          <a:p>
            <a:pPr algn="l" eaLnBrk="0" hangingPunct="0">
              <a:lnSpc>
                <a:spcPct val="106000"/>
              </a:lnSpc>
              <a:spcBef>
                <a:spcPts val="200"/>
              </a:spcBef>
              <a:buClrTx/>
            </a:pPr>
            <a:r>
              <a:rPr lang="de-DE" sz="900" dirty="0">
                <a:solidFill>
                  <a:schemeClr val="bg2"/>
                </a:solidFill>
                <a:latin typeface="DWS Sans Light" panose="02010404010101010104" pitchFamily="50" charset="0"/>
                <a:cs typeface="DWS Sans Light" panose="02010404010101010104" pitchFamily="50" charset="0"/>
              </a:rPr>
              <a:t>USA</a:t>
            </a:r>
          </a:p>
        </p:txBody>
      </p:sp>
      <p:sp>
        <p:nvSpPr>
          <p:cNvPr id="164" name="Textfeld 163"/>
          <p:cNvSpPr txBox="1"/>
          <p:nvPr/>
        </p:nvSpPr>
        <p:spPr bwMode="ltGray">
          <a:xfrm>
            <a:off x="6295137" y="5812863"/>
            <a:ext cx="221214" cy="146835"/>
          </a:xfrm>
          <a:prstGeom prst="rect">
            <a:avLst/>
          </a:prstGeom>
          <a:noFill/>
          <a:ln w="6350">
            <a:noFill/>
            <a:miter lim="800000"/>
            <a:headEnd/>
            <a:tailEnd/>
          </a:ln>
        </p:spPr>
        <p:txBody>
          <a:bodyPr wrap="none" lIns="0" tIns="0" rIns="0" bIns="0" rtlCol="0" anchor="t" anchorCtr="0">
            <a:spAutoFit/>
          </a:bodyPr>
          <a:lstStyle/>
          <a:p>
            <a:pPr algn="l" eaLnBrk="0" hangingPunct="0">
              <a:lnSpc>
                <a:spcPct val="106000"/>
              </a:lnSpc>
              <a:spcBef>
                <a:spcPts val="200"/>
              </a:spcBef>
              <a:buClrTx/>
            </a:pPr>
            <a:r>
              <a:rPr lang="de-DE" sz="900" dirty="0">
                <a:solidFill>
                  <a:schemeClr val="bg2"/>
                </a:solidFill>
                <a:latin typeface="DWS Sans Light" panose="02010404010101010104" pitchFamily="50" charset="0"/>
                <a:cs typeface="DWS Sans Light" panose="02010404010101010104" pitchFamily="50" charset="0"/>
              </a:rPr>
              <a:t>USA</a:t>
            </a:r>
          </a:p>
        </p:txBody>
      </p:sp>
      <p:sp>
        <p:nvSpPr>
          <p:cNvPr id="165" name="Textfeld 164"/>
          <p:cNvSpPr txBox="1"/>
          <p:nvPr/>
        </p:nvSpPr>
        <p:spPr bwMode="ltGray">
          <a:xfrm>
            <a:off x="5171839" y="5812863"/>
            <a:ext cx="442429" cy="137217"/>
          </a:xfrm>
          <a:prstGeom prst="rect">
            <a:avLst/>
          </a:prstGeom>
          <a:noFill/>
          <a:ln w="6350">
            <a:noFill/>
            <a:miter lim="800000"/>
            <a:headEnd/>
            <a:tailEnd/>
          </a:ln>
        </p:spPr>
        <p:txBody>
          <a:bodyPr wrap="none" lIns="0" tIns="0" rIns="0" bIns="0" rtlCol="0" anchor="t" anchorCtr="0">
            <a:spAutoFit/>
          </a:bodyPr>
          <a:lstStyle/>
          <a:p>
            <a:pPr algn="l" eaLnBrk="0" hangingPunct="0">
              <a:lnSpc>
                <a:spcPct val="106000"/>
              </a:lnSpc>
              <a:spcBef>
                <a:spcPts val="200"/>
              </a:spcBef>
              <a:buClrTx/>
            </a:pPr>
            <a:r>
              <a:rPr lang="de-DE" sz="900" dirty="0">
                <a:solidFill>
                  <a:schemeClr val="bg2"/>
                </a:solidFill>
                <a:latin typeface="DWS Sans Light" panose="02010404010101010104" pitchFamily="50" charset="0"/>
                <a:cs typeface="DWS Sans Light" panose="02010404010101010104" pitchFamily="50" charset="0"/>
              </a:rPr>
              <a:t>Eurozone</a:t>
            </a:r>
          </a:p>
        </p:txBody>
      </p:sp>
      <p:sp>
        <p:nvSpPr>
          <p:cNvPr id="166" name="Textfeld 165"/>
          <p:cNvSpPr txBox="1"/>
          <p:nvPr/>
        </p:nvSpPr>
        <p:spPr bwMode="ltGray">
          <a:xfrm>
            <a:off x="6819166" y="5812863"/>
            <a:ext cx="485743" cy="140616"/>
          </a:xfrm>
          <a:prstGeom prst="rect">
            <a:avLst/>
          </a:prstGeom>
          <a:noFill/>
          <a:ln w="6350">
            <a:noFill/>
            <a:miter lim="800000"/>
            <a:headEnd/>
            <a:tailEnd/>
          </a:ln>
        </p:spPr>
        <p:txBody>
          <a:bodyPr wrap="square" lIns="0" tIns="0" rIns="0" bIns="0" rtlCol="0" anchor="t" anchorCtr="0">
            <a:spAutoFit/>
          </a:bodyPr>
          <a:lstStyle/>
          <a:p>
            <a:pPr algn="l" eaLnBrk="0" hangingPunct="0">
              <a:lnSpc>
                <a:spcPct val="106000"/>
              </a:lnSpc>
              <a:spcBef>
                <a:spcPts val="200"/>
              </a:spcBef>
              <a:buClrTx/>
            </a:pPr>
            <a:r>
              <a:rPr lang="de-DE" sz="900" dirty="0">
                <a:solidFill>
                  <a:schemeClr val="bg2"/>
                </a:solidFill>
                <a:latin typeface="DWS Sans Light" panose="02010404010101010104" pitchFamily="50" charset="0"/>
                <a:cs typeface="DWS Sans Light" panose="02010404010101010104" pitchFamily="50" charset="0"/>
              </a:rPr>
              <a:t>Eurozone</a:t>
            </a:r>
          </a:p>
        </p:txBody>
      </p:sp>
      <p:sp>
        <p:nvSpPr>
          <p:cNvPr id="262" name="Rechteck 261"/>
          <p:cNvSpPr/>
          <p:nvPr/>
        </p:nvSpPr>
        <p:spPr>
          <a:xfrm>
            <a:off x="600590" y="10374817"/>
            <a:ext cx="6335256" cy="215444"/>
          </a:xfrm>
          <a:prstGeom prst="rect">
            <a:avLst/>
          </a:prstGeom>
        </p:spPr>
        <p:txBody>
          <a:bodyPr wrap="square" lIns="0" tIns="0" rIns="0" bIns="0">
            <a:spAutoFit/>
          </a:bodyPr>
          <a:lstStyle/>
          <a:p>
            <a:r>
              <a:rPr lang="it-IT" sz="700" dirty="0">
                <a:solidFill>
                  <a:schemeClr val="tx1">
                    <a:lumMod val="50000"/>
                  </a:schemeClr>
                </a:solidFill>
                <a:latin typeface="DWS Sans Light" panose="02010404010101010104" pitchFamily="50" charset="0"/>
                <a:cs typeface="DWS Sans Light" panose="02010404010101010104" pitchFamily="50" charset="0"/>
              </a:rPr>
              <a:t>Le previsioni si basano su ipotesi, stime, opinioni e modelli o analisi ipotetiche che potrebbero rivelarsi incorretti. </a:t>
            </a:r>
          </a:p>
          <a:p>
            <a:r>
              <a:rPr lang="it-IT" sz="700" dirty="0">
                <a:solidFill>
                  <a:schemeClr val="tx1">
                    <a:lumMod val="50000"/>
                  </a:schemeClr>
                </a:solidFill>
                <a:latin typeface="DWS Sans Light" panose="02010404010101010104" pitchFamily="50" charset="0"/>
                <a:cs typeface="DWS Sans Light" panose="02010404010101010104" pitchFamily="50" charset="0"/>
              </a:rPr>
              <a:t>Fonte: DWS Investment GmbH, dati al </a:t>
            </a:r>
            <a:r>
              <a:rPr lang="en-GB" sz="700" dirty="0">
                <a:solidFill>
                  <a:schemeClr val="tx1">
                    <a:lumMod val="50000"/>
                  </a:schemeClr>
                </a:solidFill>
                <a:latin typeface="DWS Sans Light" panose="02010404010101010104" pitchFamily="50" charset="0"/>
                <a:cs typeface="DWS Sans Light" panose="02010404010101010104" pitchFamily="50" charset="0"/>
              </a:rPr>
              <a:t>5</a:t>
            </a:r>
            <a:r>
              <a:rPr lang="en-GB" sz="700" dirty="0">
                <a:latin typeface="DWS Sans Light" panose="02010404010101010104" pitchFamily="50" charset="0"/>
                <a:cs typeface="DWS Sans Light" panose="02010404010101010104" pitchFamily="50" charset="0"/>
              </a:rPr>
              <a:t> </a:t>
            </a:r>
            <a:r>
              <a:rPr lang="en-GB" sz="700" dirty="0" err="1">
                <a:solidFill>
                  <a:schemeClr val="tx1">
                    <a:lumMod val="50000"/>
                  </a:schemeClr>
                </a:solidFill>
                <a:latin typeface="DWS Sans Light" panose="02010404010101010104" pitchFamily="50" charset="0"/>
                <a:cs typeface="DWS Sans Light" panose="02010404010101010104" pitchFamily="50" charset="0"/>
              </a:rPr>
              <a:t>febbraio</a:t>
            </a:r>
            <a:r>
              <a:rPr lang="en-GB" sz="700" dirty="0">
                <a:solidFill>
                  <a:schemeClr val="tx1">
                    <a:lumMod val="50000"/>
                  </a:schemeClr>
                </a:solidFill>
                <a:latin typeface="DWS Sans Light" panose="02010404010101010104" pitchFamily="50" charset="0"/>
                <a:cs typeface="DWS Sans Light" panose="02010404010101010104" pitchFamily="50" charset="0"/>
              </a:rPr>
              <a:t> 2026</a:t>
            </a:r>
            <a:endParaRPr lang="en-US" sz="700" dirty="0">
              <a:solidFill>
                <a:schemeClr val="accent3"/>
              </a:solidFill>
              <a:latin typeface="DWS Sans Light" panose="02010404010101010104" pitchFamily="50" charset="0"/>
              <a:cs typeface="DWS Sans Light" panose="02010404010101010104" pitchFamily="50" charset="0"/>
            </a:endParaRPr>
          </a:p>
        </p:txBody>
      </p:sp>
      <p:sp>
        <p:nvSpPr>
          <p:cNvPr id="274" name="Textplatzhalter 51"/>
          <p:cNvSpPr>
            <a:spLocks noGrp="1"/>
          </p:cNvSpPr>
          <p:nvPr>
            <p:ph type="body" sz="quarter" idx="46"/>
          </p:nvPr>
        </p:nvSpPr>
        <p:spPr>
          <a:xfrm>
            <a:off x="5046964" y="1656815"/>
            <a:ext cx="2299986" cy="425950"/>
          </a:xfrm>
        </p:spPr>
        <p:txBody>
          <a:bodyPr vert="horz" wrap="square" lIns="0" tIns="0" rIns="0" bIns="0" rtlCol="0">
            <a:spAutoFit/>
          </a:bodyPr>
          <a:lstStyle/>
          <a:p>
            <a:pPr>
              <a:spcBef>
                <a:spcPts val="0"/>
              </a:spcBef>
            </a:pPr>
            <a:r>
              <a:rPr lang="it-IT" sz="900" b="0" dirty="0">
                <a:solidFill>
                  <a:schemeClr val="bg2"/>
                </a:solidFill>
                <a:latin typeface="DWS Sans Light" panose="02010404010101010104" pitchFamily="50" charset="0"/>
                <a:cs typeface="DWS Sans Light" panose="02010404010101010104" pitchFamily="50" charset="0"/>
              </a:rPr>
              <a:t>- Restiamo ottimisti riguardo alla performance dei Treasury statunitensi. </a:t>
            </a:r>
          </a:p>
          <a:p>
            <a:pPr>
              <a:spcBef>
                <a:spcPts val="0"/>
              </a:spcBef>
            </a:pPr>
            <a:r>
              <a:rPr lang="it-IT" sz="900" b="0" dirty="0">
                <a:solidFill>
                  <a:schemeClr val="bg2"/>
                </a:solidFill>
                <a:latin typeface="DWS Sans Light" panose="02010404010101010104" pitchFamily="50" charset="0"/>
                <a:cs typeface="DWS Sans Light" panose="02010404010101010104" pitchFamily="50" charset="0"/>
              </a:rPr>
              <a:t>- Ci aspettiamo un lieve calo dei rendimenti.</a:t>
            </a:r>
          </a:p>
        </p:txBody>
      </p:sp>
      <p:grpSp>
        <p:nvGrpSpPr>
          <p:cNvPr id="2" name="Gruppieren 1">
            <a:extLst>
              <a:ext uri="{FF2B5EF4-FFF2-40B4-BE49-F238E27FC236}">
                <a16:creationId xmlns:a16="http://schemas.microsoft.com/office/drawing/2014/main" id="{EF14EE9B-906A-B0AA-F834-944AB8DF26CD}"/>
              </a:ext>
            </a:extLst>
          </p:cNvPr>
          <p:cNvGrpSpPr/>
          <p:nvPr/>
        </p:nvGrpSpPr>
        <p:grpSpPr>
          <a:xfrm>
            <a:off x="4334405" y="6091548"/>
            <a:ext cx="747617" cy="954240"/>
            <a:chOff x="505192" y="2949577"/>
            <a:chExt cx="747617" cy="954240"/>
          </a:xfrm>
        </p:grpSpPr>
        <p:grpSp>
          <p:nvGrpSpPr>
            <p:cNvPr id="4" name="Group 52">
              <a:extLst>
                <a:ext uri="{FF2B5EF4-FFF2-40B4-BE49-F238E27FC236}">
                  <a16:creationId xmlns:a16="http://schemas.microsoft.com/office/drawing/2014/main" id="{340EA4F7-E1E0-3ECD-5DFE-BD03A5C8A215}"/>
                </a:ext>
              </a:extLst>
            </p:cNvPr>
            <p:cNvGrpSpPr/>
            <p:nvPr/>
          </p:nvGrpSpPr>
          <p:grpSpPr>
            <a:xfrm>
              <a:off x="505192" y="2949577"/>
              <a:ext cx="727810" cy="449313"/>
              <a:chOff x="1270411" y="1425917"/>
              <a:chExt cx="1086927" cy="670944"/>
            </a:xfrm>
          </p:grpSpPr>
          <p:sp>
            <p:nvSpPr>
              <p:cNvPr id="11" name="Rechteck 273">
                <a:extLst>
                  <a:ext uri="{FF2B5EF4-FFF2-40B4-BE49-F238E27FC236}">
                    <a16:creationId xmlns:a16="http://schemas.microsoft.com/office/drawing/2014/main" id="{4F63BCDF-D62B-13DE-31EA-993650AC384B}"/>
                  </a:ext>
                </a:extLst>
              </p:cNvPr>
              <p:cNvSpPr/>
              <p:nvPr/>
            </p:nvSpPr>
            <p:spPr>
              <a:xfrm>
                <a:off x="1270411" y="1966472"/>
                <a:ext cx="1086927" cy="1303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bg1"/>
                  </a:buClr>
                </a:pPr>
                <a:r>
                  <a:rPr lang="en-GB" sz="700" dirty="0">
                    <a:solidFill>
                      <a:schemeClr val="bg2"/>
                    </a:solidFill>
                    <a:latin typeface="DWS Sans Light" panose="02010404010101010104" pitchFamily="50" charset="0"/>
                    <a:cs typeface="DWS Sans Light" panose="02010404010101010104" pitchFamily="50" charset="0"/>
                  </a:rPr>
                  <a:t>breve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p:txBody>
          </p:sp>
          <p:grpSp>
            <p:nvGrpSpPr>
              <p:cNvPr id="14" name="Gruppieren 364">
                <a:extLst>
                  <a:ext uri="{FF2B5EF4-FFF2-40B4-BE49-F238E27FC236}">
                    <a16:creationId xmlns:a16="http://schemas.microsoft.com/office/drawing/2014/main" id="{F8499ED2-8B17-A6CE-05A4-CA62A9F67C9B}"/>
                  </a:ext>
                </a:extLst>
              </p:cNvPr>
              <p:cNvGrpSpPr/>
              <p:nvPr/>
            </p:nvGrpSpPr>
            <p:grpSpPr>
              <a:xfrm>
                <a:off x="1787544" y="1645811"/>
                <a:ext cx="84660" cy="367354"/>
                <a:chOff x="1662113" y="1735139"/>
                <a:chExt cx="192088" cy="833505"/>
              </a:xfrm>
            </p:grpSpPr>
            <p:grpSp>
              <p:nvGrpSpPr>
                <p:cNvPr id="20" name="Gruppieren 365">
                  <a:extLst>
                    <a:ext uri="{FF2B5EF4-FFF2-40B4-BE49-F238E27FC236}">
                      <a16:creationId xmlns:a16="http://schemas.microsoft.com/office/drawing/2014/main" id="{41D35FDA-6498-AF16-FAD1-639F1E31D709}"/>
                    </a:ext>
                  </a:extLst>
                </p:cNvPr>
                <p:cNvGrpSpPr/>
                <p:nvPr/>
              </p:nvGrpSpPr>
              <p:grpSpPr>
                <a:xfrm>
                  <a:off x="1662113" y="1735139"/>
                  <a:ext cx="192088" cy="506413"/>
                  <a:chOff x="1662113" y="1735139"/>
                  <a:chExt cx="192088" cy="506413"/>
                </a:xfrm>
              </p:grpSpPr>
              <p:sp>
                <p:nvSpPr>
                  <p:cNvPr id="26" name="Freeform 10">
                    <a:extLst>
                      <a:ext uri="{FF2B5EF4-FFF2-40B4-BE49-F238E27FC236}">
                        <a16:creationId xmlns:a16="http://schemas.microsoft.com/office/drawing/2014/main" id="{F7239078-4832-15DE-8899-1236EC0361AE}"/>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solidFill>
                    <a:srgbClr val="B7C5C8"/>
                  </a:solid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27" name="Freeform 12">
                    <a:extLst>
                      <a:ext uri="{FF2B5EF4-FFF2-40B4-BE49-F238E27FC236}">
                        <a16:creationId xmlns:a16="http://schemas.microsoft.com/office/drawing/2014/main" id="{930A7356-BE8D-4A76-E08A-070585B1B657}"/>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28" name="Oval 13">
                    <a:extLst>
                      <a:ext uri="{FF2B5EF4-FFF2-40B4-BE49-F238E27FC236}">
                        <a16:creationId xmlns:a16="http://schemas.microsoft.com/office/drawing/2014/main" id="{1DA3B6F6-CBAE-7A53-74C8-BFAE5FEB17C6}"/>
                      </a:ext>
                    </a:extLst>
                  </p:cNvPr>
                  <p:cNvSpPr>
                    <a:spLocks noChangeArrowheads="1"/>
                  </p:cNvSpPr>
                  <p:nvPr/>
                </p:nvSpPr>
                <p:spPr bwMode="auto">
                  <a:xfrm>
                    <a:off x="1730375" y="2120902"/>
                    <a:ext cx="60325" cy="603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29" name="Freeform 11">
                    <a:extLst>
                      <a:ext uri="{FF2B5EF4-FFF2-40B4-BE49-F238E27FC236}">
                        <a16:creationId xmlns:a16="http://schemas.microsoft.com/office/drawing/2014/main" id="{02DF06FA-C309-C274-308A-137A6515B37D}"/>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grpSp>
            <p:grpSp>
              <p:nvGrpSpPr>
                <p:cNvPr id="21" name="Gruppieren 366">
                  <a:extLst>
                    <a:ext uri="{FF2B5EF4-FFF2-40B4-BE49-F238E27FC236}">
                      <a16:creationId xmlns:a16="http://schemas.microsoft.com/office/drawing/2014/main" id="{E3F5288F-29BE-9828-018B-94FAA48A1BC7}"/>
                    </a:ext>
                  </a:extLst>
                </p:cNvPr>
                <p:cNvGrpSpPr/>
                <p:nvPr/>
              </p:nvGrpSpPr>
              <p:grpSpPr>
                <a:xfrm flipV="1">
                  <a:off x="1662113" y="2062231"/>
                  <a:ext cx="192088" cy="506413"/>
                  <a:chOff x="1662113" y="1735139"/>
                  <a:chExt cx="192088" cy="506413"/>
                </a:xfrm>
                <a:noFill/>
              </p:grpSpPr>
              <p:sp>
                <p:nvSpPr>
                  <p:cNvPr id="22" name="Freeform 10">
                    <a:extLst>
                      <a:ext uri="{FF2B5EF4-FFF2-40B4-BE49-F238E27FC236}">
                        <a16:creationId xmlns:a16="http://schemas.microsoft.com/office/drawing/2014/main" id="{08832B92-5C51-6844-983E-F526C7E4BF44}"/>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grp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23" name="Freeform 11">
                    <a:extLst>
                      <a:ext uri="{FF2B5EF4-FFF2-40B4-BE49-F238E27FC236}">
                        <a16:creationId xmlns:a16="http://schemas.microsoft.com/office/drawing/2014/main" id="{218E3588-692B-3DD6-21EA-B25FB2497ECB}"/>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grp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24" name="Freeform 12">
                    <a:extLst>
                      <a:ext uri="{FF2B5EF4-FFF2-40B4-BE49-F238E27FC236}">
                        <a16:creationId xmlns:a16="http://schemas.microsoft.com/office/drawing/2014/main" id="{E6564AE2-52A1-2FDD-3011-5B3ED0B9AA1C}"/>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25" name="Oval 13">
                    <a:extLst>
                      <a:ext uri="{FF2B5EF4-FFF2-40B4-BE49-F238E27FC236}">
                        <a16:creationId xmlns:a16="http://schemas.microsoft.com/office/drawing/2014/main" id="{0D8122A3-0B71-28C4-3329-2C3FBA07211C}"/>
                      </a:ext>
                    </a:extLst>
                  </p:cNvPr>
                  <p:cNvSpPr>
                    <a:spLocks noChangeArrowheads="1"/>
                  </p:cNvSpPr>
                  <p:nvPr/>
                </p:nvSpPr>
                <p:spPr bwMode="auto">
                  <a:xfrm>
                    <a:off x="1730375" y="2120902"/>
                    <a:ext cx="60325" cy="60325"/>
                  </a:xfrm>
                  <a:prstGeom prst="ellipse">
                    <a:avLst/>
                  </a:prstGeom>
                  <a:grp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grpSp>
          </p:grpSp>
          <p:grpSp>
            <p:nvGrpSpPr>
              <p:cNvPr id="15" name="Gruppieren 375">
                <a:extLst>
                  <a:ext uri="{FF2B5EF4-FFF2-40B4-BE49-F238E27FC236}">
                    <a16:creationId xmlns:a16="http://schemas.microsoft.com/office/drawing/2014/main" id="{AA10AA62-720B-2D8C-9EF1-14D8A0783804}"/>
                  </a:ext>
                </a:extLst>
              </p:cNvPr>
              <p:cNvGrpSpPr/>
              <p:nvPr/>
            </p:nvGrpSpPr>
            <p:grpSpPr>
              <a:xfrm>
                <a:off x="1430336" y="1425917"/>
                <a:ext cx="817200" cy="412452"/>
                <a:chOff x="1430336" y="1425917"/>
                <a:chExt cx="817200" cy="412452"/>
              </a:xfrm>
            </p:grpSpPr>
            <p:sp>
              <p:nvSpPr>
                <p:cNvPr id="16" name="Freeform 11">
                  <a:extLst>
                    <a:ext uri="{FF2B5EF4-FFF2-40B4-BE49-F238E27FC236}">
                      <a16:creationId xmlns:a16="http://schemas.microsoft.com/office/drawing/2014/main" id="{FA93947B-D777-665F-798E-7C20FC9BF4C5}"/>
                    </a:ext>
                  </a:extLst>
                </p:cNvPr>
                <p:cNvSpPr>
                  <a:spLocks/>
                </p:cNvSpPr>
                <p:nvPr/>
              </p:nvSpPr>
              <p:spPr bwMode="auto">
                <a:xfrm>
                  <a:off x="1430336" y="1487276"/>
                  <a:ext cx="246261" cy="351093"/>
                </a:xfrm>
                <a:custGeom>
                  <a:avLst/>
                  <a:gdLst>
                    <a:gd name="T0" fmla="*/ 160 w 378"/>
                    <a:gd name="T1" fmla="*/ 534 h 534"/>
                    <a:gd name="T2" fmla="*/ 378 w 378"/>
                    <a:gd name="T3" fmla="*/ 139 h 534"/>
                    <a:gd name="T4" fmla="*/ 298 w 378"/>
                    <a:gd name="T5" fmla="*/ 0 h 534"/>
                    <a:gd name="T6" fmla="*/ 0 w 378"/>
                    <a:gd name="T7" fmla="*/ 534 h 534"/>
                    <a:gd name="T8" fmla="*/ 160 w 378"/>
                    <a:gd name="T9" fmla="*/ 534 h 534"/>
                  </a:gdLst>
                  <a:ahLst/>
                  <a:cxnLst>
                    <a:cxn ang="0">
                      <a:pos x="T0" y="T1"/>
                    </a:cxn>
                    <a:cxn ang="0">
                      <a:pos x="T2" y="T3"/>
                    </a:cxn>
                    <a:cxn ang="0">
                      <a:pos x="T4" y="T5"/>
                    </a:cxn>
                    <a:cxn ang="0">
                      <a:pos x="T6" y="T7"/>
                    </a:cxn>
                    <a:cxn ang="0">
                      <a:pos x="T8" y="T9"/>
                    </a:cxn>
                  </a:cxnLst>
                  <a:rect l="0" t="0" r="r" b="b"/>
                  <a:pathLst>
                    <a:path w="378" h="534">
                      <a:moveTo>
                        <a:pt x="160" y="534"/>
                      </a:moveTo>
                      <a:cubicBezTo>
                        <a:pt x="160" y="367"/>
                        <a:pt x="247" y="221"/>
                        <a:pt x="378" y="139"/>
                      </a:cubicBezTo>
                      <a:cubicBezTo>
                        <a:pt x="298" y="0"/>
                        <a:pt x="298" y="0"/>
                        <a:pt x="298" y="0"/>
                      </a:cubicBezTo>
                      <a:cubicBezTo>
                        <a:pt x="119" y="111"/>
                        <a:pt x="0" y="308"/>
                        <a:pt x="0" y="534"/>
                      </a:cubicBezTo>
                      <a:lnTo>
                        <a:pt x="160" y="534"/>
                      </a:ln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17" name="Freeform 12">
                  <a:extLst>
                    <a:ext uri="{FF2B5EF4-FFF2-40B4-BE49-F238E27FC236}">
                      <a16:creationId xmlns:a16="http://schemas.microsoft.com/office/drawing/2014/main" id="{679D724A-7C89-5862-BB22-C81E3A70B9B1}"/>
                    </a:ext>
                  </a:extLst>
                </p:cNvPr>
                <p:cNvSpPr>
                  <a:spLocks/>
                </p:cNvSpPr>
                <p:nvPr/>
              </p:nvSpPr>
              <p:spPr bwMode="auto">
                <a:xfrm>
                  <a:off x="1644679" y="1425917"/>
                  <a:ext cx="388514" cy="140878"/>
                </a:xfrm>
                <a:custGeom>
                  <a:avLst/>
                  <a:gdLst>
                    <a:gd name="T0" fmla="*/ 80 w 596"/>
                    <a:gd name="T1" fmla="*/ 214 h 214"/>
                    <a:gd name="T2" fmla="*/ 298 w 596"/>
                    <a:gd name="T3" fmla="*/ 160 h 214"/>
                    <a:gd name="T4" fmla="*/ 516 w 596"/>
                    <a:gd name="T5" fmla="*/ 214 h 214"/>
                    <a:gd name="T6" fmla="*/ 596 w 596"/>
                    <a:gd name="T7" fmla="*/ 75 h 214"/>
                    <a:gd name="T8" fmla="*/ 298 w 596"/>
                    <a:gd name="T9" fmla="*/ 0 h 214"/>
                    <a:gd name="T10" fmla="*/ 0 w 596"/>
                    <a:gd name="T11" fmla="*/ 75 h 214"/>
                    <a:gd name="T12" fmla="*/ 80 w 596"/>
                    <a:gd name="T13" fmla="*/ 214 h 214"/>
                  </a:gdLst>
                  <a:ahLst/>
                  <a:cxnLst>
                    <a:cxn ang="0">
                      <a:pos x="T0" y="T1"/>
                    </a:cxn>
                    <a:cxn ang="0">
                      <a:pos x="T2" y="T3"/>
                    </a:cxn>
                    <a:cxn ang="0">
                      <a:pos x="T4" y="T5"/>
                    </a:cxn>
                    <a:cxn ang="0">
                      <a:pos x="T6" y="T7"/>
                    </a:cxn>
                    <a:cxn ang="0">
                      <a:pos x="T8" y="T9"/>
                    </a:cxn>
                    <a:cxn ang="0">
                      <a:pos x="T10" y="T11"/>
                    </a:cxn>
                    <a:cxn ang="0">
                      <a:pos x="T12" y="T13"/>
                    </a:cxn>
                  </a:cxnLst>
                  <a:rect l="0" t="0" r="r" b="b"/>
                  <a:pathLst>
                    <a:path w="596" h="214">
                      <a:moveTo>
                        <a:pt x="80" y="214"/>
                      </a:moveTo>
                      <a:cubicBezTo>
                        <a:pt x="145" y="179"/>
                        <a:pt x="219" y="160"/>
                        <a:pt x="298" y="160"/>
                      </a:cubicBezTo>
                      <a:cubicBezTo>
                        <a:pt x="377" y="160"/>
                        <a:pt x="451" y="179"/>
                        <a:pt x="516" y="214"/>
                      </a:cubicBezTo>
                      <a:cubicBezTo>
                        <a:pt x="596" y="75"/>
                        <a:pt x="596" y="75"/>
                        <a:pt x="596" y="75"/>
                      </a:cubicBezTo>
                      <a:cubicBezTo>
                        <a:pt x="507" y="27"/>
                        <a:pt x="406" y="0"/>
                        <a:pt x="298" y="0"/>
                      </a:cubicBezTo>
                      <a:cubicBezTo>
                        <a:pt x="190" y="0"/>
                        <a:pt x="89" y="27"/>
                        <a:pt x="0" y="75"/>
                      </a:cubicBezTo>
                      <a:lnTo>
                        <a:pt x="80" y="214"/>
                      </a:lnTo>
                      <a:close/>
                    </a:path>
                  </a:pathLst>
                </a:custGeom>
                <a:solidFill>
                  <a:srgbClr val="E8C64D"/>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18" name="Freeform 13">
                  <a:extLst>
                    <a:ext uri="{FF2B5EF4-FFF2-40B4-BE49-F238E27FC236}">
                      <a16:creationId xmlns:a16="http://schemas.microsoft.com/office/drawing/2014/main" id="{D731BC03-25E8-C000-9F5B-EB845DE5EA00}"/>
                    </a:ext>
                  </a:extLst>
                </p:cNvPr>
                <p:cNvSpPr>
                  <a:spLocks/>
                </p:cNvSpPr>
                <p:nvPr/>
              </p:nvSpPr>
              <p:spPr bwMode="auto">
                <a:xfrm>
                  <a:off x="2001275" y="1487276"/>
                  <a:ext cx="246261" cy="351093"/>
                </a:xfrm>
                <a:custGeom>
                  <a:avLst/>
                  <a:gdLst>
                    <a:gd name="T0" fmla="*/ 80 w 378"/>
                    <a:gd name="T1" fmla="*/ 0 h 534"/>
                    <a:gd name="T2" fmla="*/ 0 w 378"/>
                    <a:gd name="T3" fmla="*/ 139 h 534"/>
                    <a:gd name="T4" fmla="*/ 218 w 378"/>
                    <a:gd name="T5" fmla="*/ 534 h 534"/>
                    <a:gd name="T6" fmla="*/ 378 w 378"/>
                    <a:gd name="T7" fmla="*/ 534 h 534"/>
                    <a:gd name="T8" fmla="*/ 80 w 378"/>
                    <a:gd name="T9" fmla="*/ 0 h 534"/>
                  </a:gdLst>
                  <a:ahLst/>
                  <a:cxnLst>
                    <a:cxn ang="0">
                      <a:pos x="T0" y="T1"/>
                    </a:cxn>
                    <a:cxn ang="0">
                      <a:pos x="T2" y="T3"/>
                    </a:cxn>
                    <a:cxn ang="0">
                      <a:pos x="T4" y="T5"/>
                    </a:cxn>
                    <a:cxn ang="0">
                      <a:pos x="T6" y="T7"/>
                    </a:cxn>
                    <a:cxn ang="0">
                      <a:pos x="T8" y="T9"/>
                    </a:cxn>
                  </a:cxnLst>
                  <a:rect l="0" t="0" r="r" b="b"/>
                  <a:pathLst>
                    <a:path w="378" h="534">
                      <a:moveTo>
                        <a:pt x="80" y="0"/>
                      </a:moveTo>
                      <a:cubicBezTo>
                        <a:pt x="0" y="139"/>
                        <a:pt x="0" y="139"/>
                        <a:pt x="0" y="139"/>
                      </a:cubicBezTo>
                      <a:cubicBezTo>
                        <a:pt x="131" y="221"/>
                        <a:pt x="218" y="367"/>
                        <a:pt x="218" y="534"/>
                      </a:cubicBezTo>
                      <a:cubicBezTo>
                        <a:pt x="378" y="534"/>
                        <a:pt x="378" y="534"/>
                        <a:pt x="378" y="534"/>
                      </a:cubicBezTo>
                      <a:cubicBezTo>
                        <a:pt x="378" y="308"/>
                        <a:pt x="259" y="111"/>
                        <a:pt x="80" y="0"/>
                      </a:cubicBez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19" name="Freihandform: Form 379">
                  <a:extLst>
                    <a:ext uri="{FF2B5EF4-FFF2-40B4-BE49-F238E27FC236}">
                      <a16:creationId xmlns:a16="http://schemas.microsoft.com/office/drawing/2014/main" id="{A821B95D-8557-EC31-7D86-5E44D99B7407}"/>
                    </a:ext>
                  </a:extLst>
                </p:cNvPr>
                <p:cNvSpPr>
                  <a:spLocks/>
                </p:cNvSpPr>
                <p:nvPr/>
              </p:nvSpPr>
              <p:spPr bwMode="auto">
                <a:xfrm>
                  <a:off x="1555530" y="1552212"/>
                  <a:ext cx="566812" cy="286157"/>
                </a:xfrm>
                <a:custGeom>
                  <a:avLst/>
                  <a:gdLst>
                    <a:gd name="connsiteX0" fmla="*/ 283406 w 566812"/>
                    <a:gd name="connsiteY0" fmla="*/ 0 h 286157"/>
                    <a:gd name="connsiteX1" fmla="*/ 566812 w 566812"/>
                    <a:gd name="connsiteY1" fmla="*/ 286157 h 286157"/>
                    <a:gd name="connsiteX2" fmla="*/ 506571 w 566812"/>
                    <a:gd name="connsiteY2" fmla="*/ 286157 h 286157"/>
                    <a:gd name="connsiteX3" fmla="*/ 283406 w 566812"/>
                    <a:gd name="connsiteY3" fmla="*/ 60826 h 286157"/>
                    <a:gd name="connsiteX4" fmla="*/ 60241 w 566812"/>
                    <a:gd name="connsiteY4" fmla="*/ 286157 h 286157"/>
                    <a:gd name="connsiteX5" fmla="*/ 0 w 566812"/>
                    <a:gd name="connsiteY5" fmla="*/ 286157 h 286157"/>
                    <a:gd name="connsiteX6" fmla="*/ 283406 w 566812"/>
                    <a:gd name="connsiteY6" fmla="*/ 0 h 28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812" h="286157">
                      <a:moveTo>
                        <a:pt x="283406" y="0"/>
                      </a:moveTo>
                      <a:cubicBezTo>
                        <a:pt x="439768" y="0"/>
                        <a:pt x="566812" y="128277"/>
                        <a:pt x="566812" y="286157"/>
                      </a:cubicBezTo>
                      <a:lnTo>
                        <a:pt x="506571" y="286157"/>
                      </a:lnTo>
                      <a:cubicBezTo>
                        <a:pt x="506571" y="161837"/>
                        <a:pt x="406532" y="60826"/>
                        <a:pt x="283406" y="60826"/>
                      </a:cubicBezTo>
                      <a:cubicBezTo>
                        <a:pt x="160281" y="60826"/>
                        <a:pt x="60241" y="161837"/>
                        <a:pt x="60241" y="286157"/>
                      </a:cubicBezTo>
                      <a:lnTo>
                        <a:pt x="0" y="286157"/>
                      </a:lnTo>
                      <a:cubicBezTo>
                        <a:pt x="0" y="128277"/>
                        <a:pt x="127044" y="0"/>
                        <a:pt x="283406" y="0"/>
                      </a:cubicBez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algn="ctr"/>
                  <a:endParaRPr lang="de-DE" sz="600" dirty="0">
                    <a:solidFill>
                      <a:schemeClr val="bg2"/>
                    </a:solidFill>
                    <a:latin typeface="+mn-lt"/>
                    <a:cs typeface="DWS Sans TT Light" panose="02010404010101010104" pitchFamily="2" charset="0"/>
                  </a:endParaRPr>
                </a:p>
              </p:txBody>
            </p:sp>
          </p:grpSp>
        </p:grpSp>
        <p:grpSp>
          <p:nvGrpSpPr>
            <p:cNvPr id="5" name="Group 3">
              <a:extLst>
                <a:ext uri="{FF2B5EF4-FFF2-40B4-BE49-F238E27FC236}">
                  <a16:creationId xmlns:a16="http://schemas.microsoft.com/office/drawing/2014/main" id="{864A8C8A-A53D-BB3C-AE5C-A001A89A4C24}"/>
                </a:ext>
              </a:extLst>
            </p:cNvPr>
            <p:cNvGrpSpPr/>
            <p:nvPr/>
          </p:nvGrpSpPr>
          <p:grpSpPr>
            <a:xfrm>
              <a:off x="518977" y="3465835"/>
              <a:ext cx="733832" cy="437982"/>
              <a:chOff x="499338" y="3642063"/>
              <a:chExt cx="888298" cy="544846"/>
            </a:xfrm>
          </p:grpSpPr>
          <p:sp>
            <p:nvSpPr>
              <p:cNvPr id="6" name="Rechteck 273">
                <a:extLst>
                  <a:ext uri="{FF2B5EF4-FFF2-40B4-BE49-F238E27FC236}">
                    <a16:creationId xmlns:a16="http://schemas.microsoft.com/office/drawing/2014/main" id="{8513D32E-1933-61C7-9810-0AEA3193BE99}"/>
                  </a:ext>
                </a:extLst>
              </p:cNvPr>
              <p:cNvSpPr/>
              <p:nvPr/>
            </p:nvSpPr>
            <p:spPr>
              <a:xfrm>
                <a:off x="499338" y="3692073"/>
                <a:ext cx="888298" cy="4948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bg1"/>
                  </a:buClr>
                </a:pPr>
                <a:r>
                  <a:rPr lang="en-GB" sz="700" dirty="0" err="1">
                    <a:solidFill>
                      <a:schemeClr val="bg2"/>
                    </a:solidFill>
                    <a:latin typeface="DWS Sans Light" panose="02010404010101010104" pitchFamily="50" charset="0"/>
                    <a:cs typeface="DWS Sans Light" panose="02010404010101010104" pitchFamily="50" charset="0"/>
                  </a:rPr>
                  <a:t>lungo</a:t>
                </a:r>
                <a:r>
                  <a:rPr lang="en-GB" sz="700" dirty="0">
                    <a:solidFill>
                      <a:schemeClr val="bg2"/>
                    </a:solidFill>
                    <a:latin typeface="DWS Sans Light" panose="02010404010101010104" pitchFamily="50" charset="0"/>
                    <a:cs typeface="DWS Sans Light" panose="02010404010101010104" pitchFamily="50" charset="0"/>
                  </a:rPr>
                  <a:t>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a:p>
                <a:pPr algn="ctr">
                  <a:spcBef>
                    <a:spcPts val="600"/>
                  </a:spcBef>
                  <a:buClr>
                    <a:schemeClr val="bg1"/>
                  </a:buClr>
                </a:pPr>
                <a:endParaRPr lang="de-DE" sz="700" dirty="0">
                  <a:solidFill>
                    <a:schemeClr val="bg2"/>
                  </a:solidFill>
                  <a:latin typeface="DWS Sans Light" panose="02010404010101010104" pitchFamily="50" charset="0"/>
                  <a:cs typeface="DWS Sans Light" panose="02010404010101010104" pitchFamily="50" charset="0"/>
                </a:endParaRPr>
              </a:p>
            </p:txBody>
          </p:sp>
          <p:sp>
            <p:nvSpPr>
              <p:cNvPr id="7" name="Rectangle 2">
                <a:extLst>
                  <a:ext uri="{FF2B5EF4-FFF2-40B4-BE49-F238E27FC236}">
                    <a16:creationId xmlns:a16="http://schemas.microsoft.com/office/drawing/2014/main" id="{57B36AEB-05C5-EA94-9FD4-19BA2F9E7A56}"/>
                  </a:ext>
                </a:extLst>
              </p:cNvPr>
              <p:cNvSpPr/>
              <p:nvPr/>
            </p:nvSpPr>
            <p:spPr bwMode="auto">
              <a:xfrm>
                <a:off x="612278" y="3642063"/>
                <a:ext cx="205200" cy="84034"/>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600" dirty="0">
                  <a:latin typeface="+mn-lt"/>
                </a:endParaRPr>
              </a:p>
            </p:txBody>
          </p:sp>
          <p:sp>
            <p:nvSpPr>
              <p:cNvPr id="9" name="Rectangle 215">
                <a:extLst>
                  <a:ext uri="{FF2B5EF4-FFF2-40B4-BE49-F238E27FC236}">
                    <a16:creationId xmlns:a16="http://schemas.microsoft.com/office/drawing/2014/main" id="{90FD132D-E5BB-031C-DB69-555C6551EBC8}"/>
                  </a:ext>
                </a:extLst>
              </p:cNvPr>
              <p:cNvSpPr/>
              <p:nvPr/>
            </p:nvSpPr>
            <p:spPr bwMode="auto">
              <a:xfrm>
                <a:off x="1069462" y="3642063"/>
                <a:ext cx="205200" cy="84034"/>
              </a:xfrm>
              <a:prstGeom prst="rect">
                <a:avLst/>
              </a:prstGeom>
              <a:solidFill>
                <a:srgbClr val="AFCA0B"/>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600" dirty="0">
                  <a:latin typeface="+mn-lt"/>
                </a:endParaRPr>
              </a:p>
            </p:txBody>
          </p:sp>
          <p:sp>
            <p:nvSpPr>
              <p:cNvPr id="10" name="Rectangle 216">
                <a:extLst>
                  <a:ext uri="{FF2B5EF4-FFF2-40B4-BE49-F238E27FC236}">
                    <a16:creationId xmlns:a16="http://schemas.microsoft.com/office/drawing/2014/main" id="{51AED246-D7AA-9DBC-F0B8-ED75555C3060}"/>
                  </a:ext>
                </a:extLst>
              </p:cNvPr>
              <p:cNvSpPr/>
              <p:nvPr/>
            </p:nvSpPr>
            <p:spPr bwMode="auto">
              <a:xfrm>
                <a:off x="840870" y="3642063"/>
                <a:ext cx="205200" cy="84034"/>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600" dirty="0">
                  <a:latin typeface="+mn-lt"/>
                </a:endParaRPr>
              </a:p>
            </p:txBody>
          </p:sp>
        </p:grpSp>
      </p:grpSp>
      <p:grpSp>
        <p:nvGrpSpPr>
          <p:cNvPr id="8" name="Gruppieren 7">
            <a:extLst>
              <a:ext uri="{FF2B5EF4-FFF2-40B4-BE49-F238E27FC236}">
                <a16:creationId xmlns:a16="http://schemas.microsoft.com/office/drawing/2014/main" id="{2AC61AA9-7993-0FD3-37B9-4327D2D1A3FF}"/>
              </a:ext>
            </a:extLst>
          </p:cNvPr>
          <p:cNvGrpSpPr/>
          <p:nvPr/>
        </p:nvGrpSpPr>
        <p:grpSpPr>
          <a:xfrm>
            <a:off x="5990924" y="6078149"/>
            <a:ext cx="774740" cy="982862"/>
            <a:chOff x="496362" y="2949577"/>
            <a:chExt cx="774740" cy="982862"/>
          </a:xfrm>
        </p:grpSpPr>
        <p:grpSp>
          <p:nvGrpSpPr>
            <p:cNvPr id="13" name="Group 52">
              <a:extLst>
                <a:ext uri="{FF2B5EF4-FFF2-40B4-BE49-F238E27FC236}">
                  <a16:creationId xmlns:a16="http://schemas.microsoft.com/office/drawing/2014/main" id="{8BACE4EF-7C29-BAB1-C726-966CDE31DA89}"/>
                </a:ext>
              </a:extLst>
            </p:cNvPr>
            <p:cNvGrpSpPr/>
            <p:nvPr/>
          </p:nvGrpSpPr>
          <p:grpSpPr>
            <a:xfrm>
              <a:off x="496362" y="2949577"/>
              <a:ext cx="774740" cy="464731"/>
              <a:chOff x="1257224" y="1425917"/>
              <a:chExt cx="1157013" cy="693967"/>
            </a:xfrm>
          </p:grpSpPr>
          <p:sp>
            <p:nvSpPr>
              <p:cNvPr id="88" name="Rechteck 273">
                <a:extLst>
                  <a:ext uri="{FF2B5EF4-FFF2-40B4-BE49-F238E27FC236}">
                    <a16:creationId xmlns:a16="http://schemas.microsoft.com/office/drawing/2014/main" id="{2572BD23-2293-0FC5-0F57-E5097EA82C27}"/>
                  </a:ext>
                </a:extLst>
              </p:cNvPr>
              <p:cNvSpPr/>
              <p:nvPr/>
            </p:nvSpPr>
            <p:spPr>
              <a:xfrm>
                <a:off x="1257224" y="1956001"/>
                <a:ext cx="1157013" cy="1638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bg1"/>
                  </a:buClr>
                </a:pPr>
                <a:r>
                  <a:rPr lang="en-GB" sz="700" dirty="0">
                    <a:solidFill>
                      <a:schemeClr val="bg2"/>
                    </a:solidFill>
                    <a:latin typeface="DWS Sans Light" panose="02010404010101010104" pitchFamily="50" charset="0"/>
                    <a:cs typeface="DWS Sans Light" panose="02010404010101010104" pitchFamily="50" charset="0"/>
                  </a:rPr>
                  <a:t>breve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p:txBody>
          </p:sp>
          <p:grpSp>
            <p:nvGrpSpPr>
              <p:cNvPr id="89" name="Gruppieren 364">
                <a:extLst>
                  <a:ext uri="{FF2B5EF4-FFF2-40B4-BE49-F238E27FC236}">
                    <a16:creationId xmlns:a16="http://schemas.microsoft.com/office/drawing/2014/main" id="{34CE1036-B9F3-0D41-4D7F-E82809E46290}"/>
                  </a:ext>
                </a:extLst>
              </p:cNvPr>
              <p:cNvGrpSpPr/>
              <p:nvPr/>
            </p:nvGrpSpPr>
            <p:grpSpPr>
              <a:xfrm>
                <a:off x="1787544" y="1645811"/>
                <a:ext cx="84660" cy="367354"/>
                <a:chOff x="1662113" y="1735139"/>
                <a:chExt cx="192088" cy="833505"/>
              </a:xfrm>
            </p:grpSpPr>
            <p:grpSp>
              <p:nvGrpSpPr>
                <p:cNvPr id="95" name="Gruppieren 365">
                  <a:extLst>
                    <a:ext uri="{FF2B5EF4-FFF2-40B4-BE49-F238E27FC236}">
                      <a16:creationId xmlns:a16="http://schemas.microsoft.com/office/drawing/2014/main" id="{19EEC5A1-11E6-5AB4-0718-7C12545139E4}"/>
                    </a:ext>
                  </a:extLst>
                </p:cNvPr>
                <p:cNvGrpSpPr/>
                <p:nvPr/>
              </p:nvGrpSpPr>
              <p:grpSpPr>
                <a:xfrm>
                  <a:off x="1662113" y="1735139"/>
                  <a:ext cx="192088" cy="506413"/>
                  <a:chOff x="1662113" y="1735139"/>
                  <a:chExt cx="192088" cy="506413"/>
                </a:xfrm>
              </p:grpSpPr>
              <p:sp>
                <p:nvSpPr>
                  <p:cNvPr id="101" name="Freeform 10">
                    <a:extLst>
                      <a:ext uri="{FF2B5EF4-FFF2-40B4-BE49-F238E27FC236}">
                        <a16:creationId xmlns:a16="http://schemas.microsoft.com/office/drawing/2014/main" id="{61AE422B-B47D-E271-F190-7612A78001D0}"/>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solidFill>
                    <a:srgbClr val="B7C5C8"/>
                  </a:solid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102" name="Freeform 12">
                    <a:extLst>
                      <a:ext uri="{FF2B5EF4-FFF2-40B4-BE49-F238E27FC236}">
                        <a16:creationId xmlns:a16="http://schemas.microsoft.com/office/drawing/2014/main" id="{A8490257-1592-F407-7BD0-1E24F80A1538}"/>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103" name="Oval 13">
                    <a:extLst>
                      <a:ext uri="{FF2B5EF4-FFF2-40B4-BE49-F238E27FC236}">
                        <a16:creationId xmlns:a16="http://schemas.microsoft.com/office/drawing/2014/main" id="{168935EA-40B0-BEFE-BF5C-CEA46FA21D8C}"/>
                      </a:ext>
                    </a:extLst>
                  </p:cNvPr>
                  <p:cNvSpPr>
                    <a:spLocks noChangeArrowheads="1"/>
                  </p:cNvSpPr>
                  <p:nvPr/>
                </p:nvSpPr>
                <p:spPr bwMode="auto">
                  <a:xfrm>
                    <a:off x="1730375" y="2120902"/>
                    <a:ext cx="60325" cy="603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104" name="Freeform 11">
                    <a:extLst>
                      <a:ext uri="{FF2B5EF4-FFF2-40B4-BE49-F238E27FC236}">
                        <a16:creationId xmlns:a16="http://schemas.microsoft.com/office/drawing/2014/main" id="{BAA0D7E2-4B5D-1946-33F4-4055C031BFDB}"/>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grpSp>
            <p:grpSp>
              <p:nvGrpSpPr>
                <p:cNvPr id="96" name="Gruppieren 366">
                  <a:extLst>
                    <a:ext uri="{FF2B5EF4-FFF2-40B4-BE49-F238E27FC236}">
                      <a16:creationId xmlns:a16="http://schemas.microsoft.com/office/drawing/2014/main" id="{4777BF7C-C1DD-D991-5FD5-0C69CD8ED3A5}"/>
                    </a:ext>
                  </a:extLst>
                </p:cNvPr>
                <p:cNvGrpSpPr/>
                <p:nvPr/>
              </p:nvGrpSpPr>
              <p:grpSpPr>
                <a:xfrm flipV="1">
                  <a:off x="1662113" y="2062231"/>
                  <a:ext cx="192088" cy="506413"/>
                  <a:chOff x="1662113" y="1735139"/>
                  <a:chExt cx="192088" cy="506413"/>
                </a:xfrm>
                <a:noFill/>
              </p:grpSpPr>
              <p:sp>
                <p:nvSpPr>
                  <p:cNvPr id="97" name="Freeform 10">
                    <a:extLst>
                      <a:ext uri="{FF2B5EF4-FFF2-40B4-BE49-F238E27FC236}">
                        <a16:creationId xmlns:a16="http://schemas.microsoft.com/office/drawing/2014/main" id="{988F6BF5-56C9-2397-0AE6-EF9A77D583AE}"/>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grp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98" name="Freeform 11">
                    <a:extLst>
                      <a:ext uri="{FF2B5EF4-FFF2-40B4-BE49-F238E27FC236}">
                        <a16:creationId xmlns:a16="http://schemas.microsoft.com/office/drawing/2014/main" id="{D7551583-6D0E-AFC8-5D56-497CED48B9E4}"/>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grp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99" name="Freeform 12">
                    <a:extLst>
                      <a:ext uri="{FF2B5EF4-FFF2-40B4-BE49-F238E27FC236}">
                        <a16:creationId xmlns:a16="http://schemas.microsoft.com/office/drawing/2014/main" id="{C08098AF-F5AE-752C-5C92-0059568961D6}"/>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100" name="Oval 13">
                    <a:extLst>
                      <a:ext uri="{FF2B5EF4-FFF2-40B4-BE49-F238E27FC236}">
                        <a16:creationId xmlns:a16="http://schemas.microsoft.com/office/drawing/2014/main" id="{92ED1B18-0367-7D80-2A84-A4DAC6E1E7F7}"/>
                      </a:ext>
                    </a:extLst>
                  </p:cNvPr>
                  <p:cNvSpPr>
                    <a:spLocks noChangeArrowheads="1"/>
                  </p:cNvSpPr>
                  <p:nvPr/>
                </p:nvSpPr>
                <p:spPr bwMode="auto">
                  <a:xfrm>
                    <a:off x="1730375" y="2120902"/>
                    <a:ext cx="60325" cy="60325"/>
                  </a:xfrm>
                  <a:prstGeom prst="ellipse">
                    <a:avLst/>
                  </a:prstGeom>
                  <a:grp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grpSp>
          </p:grpSp>
          <p:grpSp>
            <p:nvGrpSpPr>
              <p:cNvPr id="90" name="Gruppieren 375">
                <a:extLst>
                  <a:ext uri="{FF2B5EF4-FFF2-40B4-BE49-F238E27FC236}">
                    <a16:creationId xmlns:a16="http://schemas.microsoft.com/office/drawing/2014/main" id="{5ACA87E4-C92D-E25D-6169-035CD4EE0228}"/>
                  </a:ext>
                </a:extLst>
              </p:cNvPr>
              <p:cNvGrpSpPr/>
              <p:nvPr/>
            </p:nvGrpSpPr>
            <p:grpSpPr>
              <a:xfrm>
                <a:off x="1430336" y="1425917"/>
                <a:ext cx="817200" cy="412452"/>
                <a:chOff x="1430336" y="1425917"/>
                <a:chExt cx="817200" cy="412452"/>
              </a:xfrm>
            </p:grpSpPr>
            <p:sp>
              <p:nvSpPr>
                <p:cNvPr id="91" name="Freeform 11">
                  <a:extLst>
                    <a:ext uri="{FF2B5EF4-FFF2-40B4-BE49-F238E27FC236}">
                      <a16:creationId xmlns:a16="http://schemas.microsoft.com/office/drawing/2014/main" id="{3D5B8AD1-7759-EEAC-B2BF-3207632D019E}"/>
                    </a:ext>
                  </a:extLst>
                </p:cNvPr>
                <p:cNvSpPr>
                  <a:spLocks/>
                </p:cNvSpPr>
                <p:nvPr/>
              </p:nvSpPr>
              <p:spPr bwMode="auto">
                <a:xfrm>
                  <a:off x="1430336" y="1487276"/>
                  <a:ext cx="246261" cy="351093"/>
                </a:xfrm>
                <a:custGeom>
                  <a:avLst/>
                  <a:gdLst>
                    <a:gd name="T0" fmla="*/ 160 w 378"/>
                    <a:gd name="T1" fmla="*/ 534 h 534"/>
                    <a:gd name="T2" fmla="*/ 378 w 378"/>
                    <a:gd name="T3" fmla="*/ 139 h 534"/>
                    <a:gd name="T4" fmla="*/ 298 w 378"/>
                    <a:gd name="T5" fmla="*/ 0 h 534"/>
                    <a:gd name="T6" fmla="*/ 0 w 378"/>
                    <a:gd name="T7" fmla="*/ 534 h 534"/>
                    <a:gd name="T8" fmla="*/ 160 w 378"/>
                    <a:gd name="T9" fmla="*/ 534 h 534"/>
                  </a:gdLst>
                  <a:ahLst/>
                  <a:cxnLst>
                    <a:cxn ang="0">
                      <a:pos x="T0" y="T1"/>
                    </a:cxn>
                    <a:cxn ang="0">
                      <a:pos x="T2" y="T3"/>
                    </a:cxn>
                    <a:cxn ang="0">
                      <a:pos x="T4" y="T5"/>
                    </a:cxn>
                    <a:cxn ang="0">
                      <a:pos x="T6" y="T7"/>
                    </a:cxn>
                    <a:cxn ang="0">
                      <a:pos x="T8" y="T9"/>
                    </a:cxn>
                  </a:cxnLst>
                  <a:rect l="0" t="0" r="r" b="b"/>
                  <a:pathLst>
                    <a:path w="378" h="534">
                      <a:moveTo>
                        <a:pt x="160" y="534"/>
                      </a:moveTo>
                      <a:cubicBezTo>
                        <a:pt x="160" y="367"/>
                        <a:pt x="247" y="221"/>
                        <a:pt x="378" y="139"/>
                      </a:cubicBezTo>
                      <a:cubicBezTo>
                        <a:pt x="298" y="0"/>
                        <a:pt x="298" y="0"/>
                        <a:pt x="298" y="0"/>
                      </a:cubicBezTo>
                      <a:cubicBezTo>
                        <a:pt x="119" y="111"/>
                        <a:pt x="0" y="308"/>
                        <a:pt x="0" y="534"/>
                      </a:cubicBezTo>
                      <a:lnTo>
                        <a:pt x="160" y="534"/>
                      </a:ln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92" name="Freeform 12">
                  <a:extLst>
                    <a:ext uri="{FF2B5EF4-FFF2-40B4-BE49-F238E27FC236}">
                      <a16:creationId xmlns:a16="http://schemas.microsoft.com/office/drawing/2014/main" id="{1507AFD2-7A0E-3662-BAD8-E22F99707BDD}"/>
                    </a:ext>
                  </a:extLst>
                </p:cNvPr>
                <p:cNvSpPr>
                  <a:spLocks/>
                </p:cNvSpPr>
                <p:nvPr/>
              </p:nvSpPr>
              <p:spPr bwMode="auto">
                <a:xfrm>
                  <a:off x="1644679" y="1425917"/>
                  <a:ext cx="388514" cy="140878"/>
                </a:xfrm>
                <a:custGeom>
                  <a:avLst/>
                  <a:gdLst>
                    <a:gd name="T0" fmla="*/ 80 w 596"/>
                    <a:gd name="T1" fmla="*/ 214 h 214"/>
                    <a:gd name="T2" fmla="*/ 298 w 596"/>
                    <a:gd name="T3" fmla="*/ 160 h 214"/>
                    <a:gd name="T4" fmla="*/ 516 w 596"/>
                    <a:gd name="T5" fmla="*/ 214 h 214"/>
                    <a:gd name="T6" fmla="*/ 596 w 596"/>
                    <a:gd name="T7" fmla="*/ 75 h 214"/>
                    <a:gd name="T8" fmla="*/ 298 w 596"/>
                    <a:gd name="T9" fmla="*/ 0 h 214"/>
                    <a:gd name="T10" fmla="*/ 0 w 596"/>
                    <a:gd name="T11" fmla="*/ 75 h 214"/>
                    <a:gd name="T12" fmla="*/ 80 w 596"/>
                    <a:gd name="T13" fmla="*/ 214 h 214"/>
                  </a:gdLst>
                  <a:ahLst/>
                  <a:cxnLst>
                    <a:cxn ang="0">
                      <a:pos x="T0" y="T1"/>
                    </a:cxn>
                    <a:cxn ang="0">
                      <a:pos x="T2" y="T3"/>
                    </a:cxn>
                    <a:cxn ang="0">
                      <a:pos x="T4" y="T5"/>
                    </a:cxn>
                    <a:cxn ang="0">
                      <a:pos x="T6" y="T7"/>
                    </a:cxn>
                    <a:cxn ang="0">
                      <a:pos x="T8" y="T9"/>
                    </a:cxn>
                    <a:cxn ang="0">
                      <a:pos x="T10" y="T11"/>
                    </a:cxn>
                    <a:cxn ang="0">
                      <a:pos x="T12" y="T13"/>
                    </a:cxn>
                  </a:cxnLst>
                  <a:rect l="0" t="0" r="r" b="b"/>
                  <a:pathLst>
                    <a:path w="596" h="214">
                      <a:moveTo>
                        <a:pt x="80" y="214"/>
                      </a:moveTo>
                      <a:cubicBezTo>
                        <a:pt x="145" y="179"/>
                        <a:pt x="219" y="160"/>
                        <a:pt x="298" y="160"/>
                      </a:cubicBezTo>
                      <a:cubicBezTo>
                        <a:pt x="377" y="160"/>
                        <a:pt x="451" y="179"/>
                        <a:pt x="516" y="214"/>
                      </a:cubicBezTo>
                      <a:cubicBezTo>
                        <a:pt x="596" y="75"/>
                        <a:pt x="596" y="75"/>
                        <a:pt x="596" y="75"/>
                      </a:cubicBezTo>
                      <a:cubicBezTo>
                        <a:pt x="507" y="27"/>
                        <a:pt x="406" y="0"/>
                        <a:pt x="298" y="0"/>
                      </a:cubicBezTo>
                      <a:cubicBezTo>
                        <a:pt x="190" y="0"/>
                        <a:pt x="89" y="27"/>
                        <a:pt x="0" y="75"/>
                      </a:cubicBezTo>
                      <a:lnTo>
                        <a:pt x="80" y="214"/>
                      </a:lnTo>
                      <a:close/>
                    </a:path>
                  </a:pathLst>
                </a:custGeom>
                <a:solidFill>
                  <a:srgbClr val="E8C64D"/>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93" name="Freeform 13">
                  <a:extLst>
                    <a:ext uri="{FF2B5EF4-FFF2-40B4-BE49-F238E27FC236}">
                      <a16:creationId xmlns:a16="http://schemas.microsoft.com/office/drawing/2014/main" id="{5615849C-3990-0AE6-5E8A-115C09857B11}"/>
                    </a:ext>
                  </a:extLst>
                </p:cNvPr>
                <p:cNvSpPr>
                  <a:spLocks/>
                </p:cNvSpPr>
                <p:nvPr/>
              </p:nvSpPr>
              <p:spPr bwMode="auto">
                <a:xfrm>
                  <a:off x="2001275" y="1487276"/>
                  <a:ext cx="246261" cy="351093"/>
                </a:xfrm>
                <a:custGeom>
                  <a:avLst/>
                  <a:gdLst>
                    <a:gd name="T0" fmla="*/ 80 w 378"/>
                    <a:gd name="T1" fmla="*/ 0 h 534"/>
                    <a:gd name="T2" fmla="*/ 0 w 378"/>
                    <a:gd name="T3" fmla="*/ 139 h 534"/>
                    <a:gd name="T4" fmla="*/ 218 w 378"/>
                    <a:gd name="T5" fmla="*/ 534 h 534"/>
                    <a:gd name="T6" fmla="*/ 378 w 378"/>
                    <a:gd name="T7" fmla="*/ 534 h 534"/>
                    <a:gd name="T8" fmla="*/ 80 w 378"/>
                    <a:gd name="T9" fmla="*/ 0 h 534"/>
                  </a:gdLst>
                  <a:ahLst/>
                  <a:cxnLst>
                    <a:cxn ang="0">
                      <a:pos x="T0" y="T1"/>
                    </a:cxn>
                    <a:cxn ang="0">
                      <a:pos x="T2" y="T3"/>
                    </a:cxn>
                    <a:cxn ang="0">
                      <a:pos x="T4" y="T5"/>
                    </a:cxn>
                    <a:cxn ang="0">
                      <a:pos x="T6" y="T7"/>
                    </a:cxn>
                    <a:cxn ang="0">
                      <a:pos x="T8" y="T9"/>
                    </a:cxn>
                  </a:cxnLst>
                  <a:rect l="0" t="0" r="r" b="b"/>
                  <a:pathLst>
                    <a:path w="378" h="534">
                      <a:moveTo>
                        <a:pt x="80" y="0"/>
                      </a:moveTo>
                      <a:cubicBezTo>
                        <a:pt x="0" y="139"/>
                        <a:pt x="0" y="139"/>
                        <a:pt x="0" y="139"/>
                      </a:cubicBezTo>
                      <a:cubicBezTo>
                        <a:pt x="131" y="221"/>
                        <a:pt x="218" y="367"/>
                        <a:pt x="218" y="534"/>
                      </a:cubicBezTo>
                      <a:cubicBezTo>
                        <a:pt x="378" y="534"/>
                        <a:pt x="378" y="534"/>
                        <a:pt x="378" y="534"/>
                      </a:cubicBezTo>
                      <a:cubicBezTo>
                        <a:pt x="378" y="308"/>
                        <a:pt x="259" y="111"/>
                        <a:pt x="80" y="0"/>
                      </a:cubicBez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94" name="Freihandform: Form 379">
                  <a:extLst>
                    <a:ext uri="{FF2B5EF4-FFF2-40B4-BE49-F238E27FC236}">
                      <a16:creationId xmlns:a16="http://schemas.microsoft.com/office/drawing/2014/main" id="{7B6C40A8-CA66-8290-61D6-4FAE8AA10AD5}"/>
                    </a:ext>
                  </a:extLst>
                </p:cNvPr>
                <p:cNvSpPr>
                  <a:spLocks/>
                </p:cNvSpPr>
                <p:nvPr/>
              </p:nvSpPr>
              <p:spPr bwMode="auto">
                <a:xfrm>
                  <a:off x="1555530" y="1552212"/>
                  <a:ext cx="566812" cy="286157"/>
                </a:xfrm>
                <a:custGeom>
                  <a:avLst/>
                  <a:gdLst>
                    <a:gd name="connsiteX0" fmla="*/ 283406 w 566812"/>
                    <a:gd name="connsiteY0" fmla="*/ 0 h 286157"/>
                    <a:gd name="connsiteX1" fmla="*/ 566812 w 566812"/>
                    <a:gd name="connsiteY1" fmla="*/ 286157 h 286157"/>
                    <a:gd name="connsiteX2" fmla="*/ 506571 w 566812"/>
                    <a:gd name="connsiteY2" fmla="*/ 286157 h 286157"/>
                    <a:gd name="connsiteX3" fmla="*/ 283406 w 566812"/>
                    <a:gd name="connsiteY3" fmla="*/ 60826 h 286157"/>
                    <a:gd name="connsiteX4" fmla="*/ 60241 w 566812"/>
                    <a:gd name="connsiteY4" fmla="*/ 286157 h 286157"/>
                    <a:gd name="connsiteX5" fmla="*/ 0 w 566812"/>
                    <a:gd name="connsiteY5" fmla="*/ 286157 h 286157"/>
                    <a:gd name="connsiteX6" fmla="*/ 283406 w 566812"/>
                    <a:gd name="connsiteY6" fmla="*/ 0 h 28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812" h="286157">
                      <a:moveTo>
                        <a:pt x="283406" y="0"/>
                      </a:moveTo>
                      <a:cubicBezTo>
                        <a:pt x="439768" y="0"/>
                        <a:pt x="566812" y="128277"/>
                        <a:pt x="566812" y="286157"/>
                      </a:cubicBezTo>
                      <a:lnTo>
                        <a:pt x="506571" y="286157"/>
                      </a:lnTo>
                      <a:cubicBezTo>
                        <a:pt x="506571" y="161837"/>
                        <a:pt x="406532" y="60826"/>
                        <a:pt x="283406" y="60826"/>
                      </a:cubicBezTo>
                      <a:cubicBezTo>
                        <a:pt x="160281" y="60826"/>
                        <a:pt x="60241" y="161837"/>
                        <a:pt x="60241" y="286157"/>
                      </a:cubicBezTo>
                      <a:lnTo>
                        <a:pt x="0" y="286157"/>
                      </a:lnTo>
                      <a:cubicBezTo>
                        <a:pt x="0" y="128277"/>
                        <a:pt x="127044" y="0"/>
                        <a:pt x="283406" y="0"/>
                      </a:cubicBez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algn="ctr"/>
                  <a:endParaRPr lang="de-DE" sz="600" dirty="0">
                    <a:solidFill>
                      <a:schemeClr val="bg2"/>
                    </a:solidFill>
                    <a:latin typeface="+mn-lt"/>
                    <a:cs typeface="DWS Sans TT Light" panose="02010404010101010104" pitchFamily="2" charset="0"/>
                  </a:endParaRPr>
                </a:p>
              </p:txBody>
            </p:sp>
          </p:grpSp>
        </p:grpSp>
        <p:grpSp>
          <p:nvGrpSpPr>
            <p:cNvPr id="39" name="Group 3">
              <a:extLst>
                <a:ext uri="{FF2B5EF4-FFF2-40B4-BE49-F238E27FC236}">
                  <a16:creationId xmlns:a16="http://schemas.microsoft.com/office/drawing/2014/main" id="{15628652-248F-C732-9BCF-E8EF57651913}"/>
                </a:ext>
              </a:extLst>
            </p:cNvPr>
            <p:cNvGrpSpPr/>
            <p:nvPr/>
          </p:nvGrpSpPr>
          <p:grpSpPr>
            <a:xfrm>
              <a:off x="533122" y="3465834"/>
              <a:ext cx="705495" cy="466605"/>
              <a:chOff x="516460" y="3642063"/>
              <a:chExt cx="853997" cy="580453"/>
            </a:xfrm>
          </p:grpSpPr>
          <p:sp>
            <p:nvSpPr>
              <p:cNvPr id="84" name="Rechteck 273">
                <a:extLst>
                  <a:ext uri="{FF2B5EF4-FFF2-40B4-BE49-F238E27FC236}">
                    <a16:creationId xmlns:a16="http://schemas.microsoft.com/office/drawing/2014/main" id="{AD8BA4DC-30C3-3D36-2999-52F6F83AB303}"/>
                  </a:ext>
                </a:extLst>
              </p:cNvPr>
              <p:cNvSpPr/>
              <p:nvPr/>
            </p:nvSpPr>
            <p:spPr>
              <a:xfrm>
                <a:off x="516460" y="3699042"/>
                <a:ext cx="853997" cy="523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bg1"/>
                  </a:buClr>
                </a:pPr>
                <a:r>
                  <a:rPr lang="en-GB" sz="700" dirty="0" err="1">
                    <a:solidFill>
                      <a:schemeClr val="bg2"/>
                    </a:solidFill>
                    <a:latin typeface="DWS Sans Light" panose="02010404010101010104" pitchFamily="50" charset="0"/>
                    <a:cs typeface="DWS Sans Light" panose="02010404010101010104" pitchFamily="50" charset="0"/>
                  </a:rPr>
                  <a:t>lungo</a:t>
                </a:r>
                <a:r>
                  <a:rPr lang="en-GB" sz="700" dirty="0">
                    <a:solidFill>
                      <a:schemeClr val="bg2"/>
                    </a:solidFill>
                    <a:latin typeface="DWS Sans Light" panose="02010404010101010104" pitchFamily="50" charset="0"/>
                    <a:cs typeface="DWS Sans Light" panose="02010404010101010104" pitchFamily="50" charset="0"/>
                  </a:rPr>
                  <a:t>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a:p>
                <a:pPr algn="ctr">
                  <a:spcBef>
                    <a:spcPts val="600"/>
                  </a:spcBef>
                  <a:buClr>
                    <a:schemeClr val="bg1"/>
                  </a:buClr>
                </a:pPr>
                <a:endParaRPr lang="de-DE" sz="700" dirty="0">
                  <a:solidFill>
                    <a:schemeClr val="bg2"/>
                  </a:solidFill>
                  <a:latin typeface="DWS Sans Light" panose="02010404010101010104" pitchFamily="50" charset="0"/>
                  <a:cs typeface="DWS Sans Light" panose="02010404010101010104" pitchFamily="50" charset="0"/>
                </a:endParaRPr>
              </a:p>
            </p:txBody>
          </p:sp>
          <p:sp>
            <p:nvSpPr>
              <p:cNvPr id="85" name="Rectangle 2">
                <a:extLst>
                  <a:ext uri="{FF2B5EF4-FFF2-40B4-BE49-F238E27FC236}">
                    <a16:creationId xmlns:a16="http://schemas.microsoft.com/office/drawing/2014/main" id="{A195DC99-7B0F-B2A5-3B02-84DD97E40184}"/>
                  </a:ext>
                </a:extLst>
              </p:cNvPr>
              <p:cNvSpPr/>
              <p:nvPr/>
            </p:nvSpPr>
            <p:spPr bwMode="auto">
              <a:xfrm>
                <a:off x="612278" y="3642063"/>
                <a:ext cx="205200" cy="84034"/>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600" dirty="0">
                  <a:latin typeface="+mn-lt"/>
                </a:endParaRPr>
              </a:p>
            </p:txBody>
          </p:sp>
          <p:sp>
            <p:nvSpPr>
              <p:cNvPr id="86" name="Rectangle 215">
                <a:extLst>
                  <a:ext uri="{FF2B5EF4-FFF2-40B4-BE49-F238E27FC236}">
                    <a16:creationId xmlns:a16="http://schemas.microsoft.com/office/drawing/2014/main" id="{2F57B64C-59B3-90E5-84F7-F4F0F79DBD31}"/>
                  </a:ext>
                </a:extLst>
              </p:cNvPr>
              <p:cNvSpPr/>
              <p:nvPr/>
            </p:nvSpPr>
            <p:spPr bwMode="auto">
              <a:xfrm>
                <a:off x="1069462" y="3642063"/>
                <a:ext cx="205200" cy="84034"/>
              </a:xfrm>
              <a:prstGeom prst="rect">
                <a:avLst/>
              </a:prstGeom>
              <a:solidFill>
                <a:srgbClr val="AFCA0B"/>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600" dirty="0">
                  <a:latin typeface="+mn-lt"/>
                </a:endParaRPr>
              </a:p>
            </p:txBody>
          </p:sp>
          <p:sp>
            <p:nvSpPr>
              <p:cNvPr id="87" name="Rectangle 216">
                <a:extLst>
                  <a:ext uri="{FF2B5EF4-FFF2-40B4-BE49-F238E27FC236}">
                    <a16:creationId xmlns:a16="http://schemas.microsoft.com/office/drawing/2014/main" id="{5F95B21E-605E-17C8-6A0E-DE88DA3E2D1A}"/>
                  </a:ext>
                </a:extLst>
              </p:cNvPr>
              <p:cNvSpPr/>
              <p:nvPr/>
            </p:nvSpPr>
            <p:spPr bwMode="auto">
              <a:xfrm>
                <a:off x="840870" y="3642063"/>
                <a:ext cx="205200" cy="84034"/>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600" dirty="0">
                  <a:latin typeface="+mn-lt"/>
                </a:endParaRPr>
              </a:p>
            </p:txBody>
          </p:sp>
        </p:grpSp>
      </p:grpSp>
      <p:grpSp>
        <p:nvGrpSpPr>
          <p:cNvPr id="148" name="Gruppieren 147">
            <a:extLst>
              <a:ext uri="{FF2B5EF4-FFF2-40B4-BE49-F238E27FC236}">
                <a16:creationId xmlns:a16="http://schemas.microsoft.com/office/drawing/2014/main" id="{2220A13C-B945-BB53-54D0-C8033CCCC50D}"/>
              </a:ext>
            </a:extLst>
          </p:cNvPr>
          <p:cNvGrpSpPr/>
          <p:nvPr/>
        </p:nvGrpSpPr>
        <p:grpSpPr>
          <a:xfrm>
            <a:off x="6736880" y="6064851"/>
            <a:ext cx="756120" cy="926796"/>
            <a:chOff x="539236" y="2949578"/>
            <a:chExt cx="756120" cy="926796"/>
          </a:xfrm>
        </p:grpSpPr>
        <p:grpSp>
          <p:nvGrpSpPr>
            <p:cNvPr id="151" name="Group 52">
              <a:extLst>
                <a:ext uri="{FF2B5EF4-FFF2-40B4-BE49-F238E27FC236}">
                  <a16:creationId xmlns:a16="http://schemas.microsoft.com/office/drawing/2014/main" id="{A053A63A-D150-8CDE-A34D-530A7E9B3E5D}"/>
                </a:ext>
              </a:extLst>
            </p:cNvPr>
            <p:cNvGrpSpPr/>
            <p:nvPr/>
          </p:nvGrpSpPr>
          <p:grpSpPr>
            <a:xfrm>
              <a:off x="561584" y="2949578"/>
              <a:ext cx="733772" cy="459233"/>
              <a:chOff x="1354628" y="1425917"/>
              <a:chExt cx="1095831" cy="685757"/>
            </a:xfrm>
          </p:grpSpPr>
          <p:sp>
            <p:nvSpPr>
              <p:cNvPr id="600" name="Rechteck 273">
                <a:extLst>
                  <a:ext uri="{FF2B5EF4-FFF2-40B4-BE49-F238E27FC236}">
                    <a16:creationId xmlns:a16="http://schemas.microsoft.com/office/drawing/2014/main" id="{4324E6C6-FF83-C575-0BDA-65E2F78CFE9A}"/>
                  </a:ext>
                </a:extLst>
              </p:cNvPr>
              <p:cNvSpPr/>
              <p:nvPr/>
            </p:nvSpPr>
            <p:spPr>
              <a:xfrm>
                <a:off x="1354628" y="1966472"/>
                <a:ext cx="1095831" cy="1452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bg1"/>
                  </a:buClr>
                </a:pPr>
                <a:r>
                  <a:rPr lang="en-GB" sz="700" dirty="0">
                    <a:solidFill>
                      <a:schemeClr val="bg2"/>
                    </a:solidFill>
                    <a:latin typeface="DWS Sans Light" panose="02010404010101010104" pitchFamily="50" charset="0"/>
                    <a:cs typeface="DWS Sans Light" panose="02010404010101010104" pitchFamily="50" charset="0"/>
                  </a:rPr>
                  <a:t>breve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p:txBody>
          </p:sp>
          <p:grpSp>
            <p:nvGrpSpPr>
              <p:cNvPr id="601" name="Gruppieren 364">
                <a:extLst>
                  <a:ext uri="{FF2B5EF4-FFF2-40B4-BE49-F238E27FC236}">
                    <a16:creationId xmlns:a16="http://schemas.microsoft.com/office/drawing/2014/main" id="{4BE3CB96-7EB4-E3DB-8D61-8806602CF50D}"/>
                  </a:ext>
                </a:extLst>
              </p:cNvPr>
              <p:cNvGrpSpPr/>
              <p:nvPr/>
            </p:nvGrpSpPr>
            <p:grpSpPr>
              <a:xfrm>
                <a:off x="1787544" y="1645811"/>
                <a:ext cx="84660" cy="367354"/>
                <a:chOff x="1662113" y="1735139"/>
                <a:chExt cx="192088" cy="833505"/>
              </a:xfrm>
            </p:grpSpPr>
            <p:grpSp>
              <p:nvGrpSpPr>
                <p:cNvPr id="607" name="Gruppieren 365">
                  <a:extLst>
                    <a:ext uri="{FF2B5EF4-FFF2-40B4-BE49-F238E27FC236}">
                      <a16:creationId xmlns:a16="http://schemas.microsoft.com/office/drawing/2014/main" id="{F3C0F2D5-31A4-2976-12DF-17E9E02FBC56}"/>
                    </a:ext>
                  </a:extLst>
                </p:cNvPr>
                <p:cNvGrpSpPr/>
                <p:nvPr/>
              </p:nvGrpSpPr>
              <p:grpSpPr>
                <a:xfrm>
                  <a:off x="1662113" y="1735139"/>
                  <a:ext cx="192088" cy="506413"/>
                  <a:chOff x="1662113" y="1735139"/>
                  <a:chExt cx="192088" cy="506413"/>
                </a:xfrm>
              </p:grpSpPr>
              <p:sp>
                <p:nvSpPr>
                  <p:cNvPr id="613" name="Freeform 10">
                    <a:extLst>
                      <a:ext uri="{FF2B5EF4-FFF2-40B4-BE49-F238E27FC236}">
                        <a16:creationId xmlns:a16="http://schemas.microsoft.com/office/drawing/2014/main" id="{4EE2D41B-A508-C6D8-54E2-2A9343D16DCE}"/>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solidFill>
                    <a:srgbClr val="B7C5C8"/>
                  </a:solid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614" name="Freeform 12">
                    <a:extLst>
                      <a:ext uri="{FF2B5EF4-FFF2-40B4-BE49-F238E27FC236}">
                        <a16:creationId xmlns:a16="http://schemas.microsoft.com/office/drawing/2014/main" id="{F1A142C0-3791-CB79-6DE9-3360A58A81A3}"/>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615" name="Oval 13">
                    <a:extLst>
                      <a:ext uri="{FF2B5EF4-FFF2-40B4-BE49-F238E27FC236}">
                        <a16:creationId xmlns:a16="http://schemas.microsoft.com/office/drawing/2014/main" id="{2D8CA6A0-12F4-42B4-DC8C-5FBC6B786507}"/>
                      </a:ext>
                    </a:extLst>
                  </p:cNvPr>
                  <p:cNvSpPr>
                    <a:spLocks noChangeArrowheads="1"/>
                  </p:cNvSpPr>
                  <p:nvPr/>
                </p:nvSpPr>
                <p:spPr bwMode="auto">
                  <a:xfrm>
                    <a:off x="1730375" y="2120902"/>
                    <a:ext cx="60325" cy="603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616" name="Freeform 11">
                    <a:extLst>
                      <a:ext uri="{FF2B5EF4-FFF2-40B4-BE49-F238E27FC236}">
                        <a16:creationId xmlns:a16="http://schemas.microsoft.com/office/drawing/2014/main" id="{8CB235B6-80D3-818A-6548-88BE9C1FDBBB}"/>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grpSp>
            <p:grpSp>
              <p:nvGrpSpPr>
                <p:cNvPr id="608" name="Gruppieren 366">
                  <a:extLst>
                    <a:ext uri="{FF2B5EF4-FFF2-40B4-BE49-F238E27FC236}">
                      <a16:creationId xmlns:a16="http://schemas.microsoft.com/office/drawing/2014/main" id="{DFF22A56-D7DE-7F9F-CEBC-1831027F8D17}"/>
                    </a:ext>
                  </a:extLst>
                </p:cNvPr>
                <p:cNvGrpSpPr/>
                <p:nvPr/>
              </p:nvGrpSpPr>
              <p:grpSpPr>
                <a:xfrm flipV="1">
                  <a:off x="1662113" y="2062231"/>
                  <a:ext cx="192088" cy="506413"/>
                  <a:chOff x="1662113" y="1735139"/>
                  <a:chExt cx="192088" cy="506413"/>
                </a:xfrm>
                <a:noFill/>
              </p:grpSpPr>
              <p:sp>
                <p:nvSpPr>
                  <p:cNvPr id="609" name="Freeform 10">
                    <a:extLst>
                      <a:ext uri="{FF2B5EF4-FFF2-40B4-BE49-F238E27FC236}">
                        <a16:creationId xmlns:a16="http://schemas.microsoft.com/office/drawing/2014/main" id="{4EF4CA98-7AB0-82EB-70EA-460853F5FE7B}"/>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grp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610" name="Freeform 11">
                    <a:extLst>
                      <a:ext uri="{FF2B5EF4-FFF2-40B4-BE49-F238E27FC236}">
                        <a16:creationId xmlns:a16="http://schemas.microsoft.com/office/drawing/2014/main" id="{413550C5-5BDE-5706-EF41-EE86AB021F58}"/>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grp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611" name="Freeform 12">
                    <a:extLst>
                      <a:ext uri="{FF2B5EF4-FFF2-40B4-BE49-F238E27FC236}">
                        <a16:creationId xmlns:a16="http://schemas.microsoft.com/office/drawing/2014/main" id="{9627E164-4999-5A99-DCB3-6664AADBB837}"/>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612" name="Oval 13">
                    <a:extLst>
                      <a:ext uri="{FF2B5EF4-FFF2-40B4-BE49-F238E27FC236}">
                        <a16:creationId xmlns:a16="http://schemas.microsoft.com/office/drawing/2014/main" id="{A193926B-8CC1-1F5B-898A-93D96580D035}"/>
                      </a:ext>
                    </a:extLst>
                  </p:cNvPr>
                  <p:cNvSpPr>
                    <a:spLocks noChangeArrowheads="1"/>
                  </p:cNvSpPr>
                  <p:nvPr/>
                </p:nvSpPr>
                <p:spPr bwMode="auto">
                  <a:xfrm>
                    <a:off x="1730375" y="2120902"/>
                    <a:ext cx="60325" cy="60325"/>
                  </a:xfrm>
                  <a:prstGeom prst="ellipse">
                    <a:avLst/>
                  </a:prstGeom>
                  <a:grp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grpSp>
          </p:grpSp>
          <p:grpSp>
            <p:nvGrpSpPr>
              <p:cNvPr id="602" name="Gruppieren 375">
                <a:extLst>
                  <a:ext uri="{FF2B5EF4-FFF2-40B4-BE49-F238E27FC236}">
                    <a16:creationId xmlns:a16="http://schemas.microsoft.com/office/drawing/2014/main" id="{10303468-8C48-7E2B-D1C0-56776E3B5953}"/>
                  </a:ext>
                </a:extLst>
              </p:cNvPr>
              <p:cNvGrpSpPr/>
              <p:nvPr/>
            </p:nvGrpSpPr>
            <p:grpSpPr>
              <a:xfrm>
                <a:off x="1430336" y="1425917"/>
                <a:ext cx="817200" cy="412452"/>
                <a:chOff x="1430336" y="1425917"/>
                <a:chExt cx="817200" cy="412452"/>
              </a:xfrm>
            </p:grpSpPr>
            <p:sp>
              <p:nvSpPr>
                <p:cNvPr id="603" name="Freeform 11">
                  <a:extLst>
                    <a:ext uri="{FF2B5EF4-FFF2-40B4-BE49-F238E27FC236}">
                      <a16:creationId xmlns:a16="http://schemas.microsoft.com/office/drawing/2014/main" id="{455E1C74-5D40-C707-4323-47DA6E8B946D}"/>
                    </a:ext>
                  </a:extLst>
                </p:cNvPr>
                <p:cNvSpPr>
                  <a:spLocks/>
                </p:cNvSpPr>
                <p:nvPr/>
              </p:nvSpPr>
              <p:spPr bwMode="auto">
                <a:xfrm>
                  <a:off x="1430336" y="1487276"/>
                  <a:ext cx="246261" cy="351093"/>
                </a:xfrm>
                <a:custGeom>
                  <a:avLst/>
                  <a:gdLst>
                    <a:gd name="T0" fmla="*/ 160 w 378"/>
                    <a:gd name="T1" fmla="*/ 534 h 534"/>
                    <a:gd name="T2" fmla="*/ 378 w 378"/>
                    <a:gd name="T3" fmla="*/ 139 h 534"/>
                    <a:gd name="T4" fmla="*/ 298 w 378"/>
                    <a:gd name="T5" fmla="*/ 0 h 534"/>
                    <a:gd name="T6" fmla="*/ 0 w 378"/>
                    <a:gd name="T7" fmla="*/ 534 h 534"/>
                    <a:gd name="T8" fmla="*/ 160 w 378"/>
                    <a:gd name="T9" fmla="*/ 534 h 534"/>
                  </a:gdLst>
                  <a:ahLst/>
                  <a:cxnLst>
                    <a:cxn ang="0">
                      <a:pos x="T0" y="T1"/>
                    </a:cxn>
                    <a:cxn ang="0">
                      <a:pos x="T2" y="T3"/>
                    </a:cxn>
                    <a:cxn ang="0">
                      <a:pos x="T4" y="T5"/>
                    </a:cxn>
                    <a:cxn ang="0">
                      <a:pos x="T6" y="T7"/>
                    </a:cxn>
                    <a:cxn ang="0">
                      <a:pos x="T8" y="T9"/>
                    </a:cxn>
                  </a:cxnLst>
                  <a:rect l="0" t="0" r="r" b="b"/>
                  <a:pathLst>
                    <a:path w="378" h="534">
                      <a:moveTo>
                        <a:pt x="160" y="534"/>
                      </a:moveTo>
                      <a:cubicBezTo>
                        <a:pt x="160" y="367"/>
                        <a:pt x="247" y="221"/>
                        <a:pt x="378" y="139"/>
                      </a:cubicBezTo>
                      <a:cubicBezTo>
                        <a:pt x="298" y="0"/>
                        <a:pt x="298" y="0"/>
                        <a:pt x="298" y="0"/>
                      </a:cubicBezTo>
                      <a:cubicBezTo>
                        <a:pt x="119" y="111"/>
                        <a:pt x="0" y="308"/>
                        <a:pt x="0" y="534"/>
                      </a:cubicBezTo>
                      <a:lnTo>
                        <a:pt x="160" y="534"/>
                      </a:ln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604" name="Freeform 12">
                  <a:extLst>
                    <a:ext uri="{FF2B5EF4-FFF2-40B4-BE49-F238E27FC236}">
                      <a16:creationId xmlns:a16="http://schemas.microsoft.com/office/drawing/2014/main" id="{72015204-D6CD-2CC2-2FE7-697388FA14D6}"/>
                    </a:ext>
                  </a:extLst>
                </p:cNvPr>
                <p:cNvSpPr>
                  <a:spLocks/>
                </p:cNvSpPr>
                <p:nvPr/>
              </p:nvSpPr>
              <p:spPr bwMode="auto">
                <a:xfrm>
                  <a:off x="1644679" y="1425917"/>
                  <a:ext cx="388514" cy="140878"/>
                </a:xfrm>
                <a:custGeom>
                  <a:avLst/>
                  <a:gdLst>
                    <a:gd name="T0" fmla="*/ 80 w 596"/>
                    <a:gd name="T1" fmla="*/ 214 h 214"/>
                    <a:gd name="T2" fmla="*/ 298 w 596"/>
                    <a:gd name="T3" fmla="*/ 160 h 214"/>
                    <a:gd name="T4" fmla="*/ 516 w 596"/>
                    <a:gd name="T5" fmla="*/ 214 h 214"/>
                    <a:gd name="T6" fmla="*/ 596 w 596"/>
                    <a:gd name="T7" fmla="*/ 75 h 214"/>
                    <a:gd name="T8" fmla="*/ 298 w 596"/>
                    <a:gd name="T9" fmla="*/ 0 h 214"/>
                    <a:gd name="T10" fmla="*/ 0 w 596"/>
                    <a:gd name="T11" fmla="*/ 75 h 214"/>
                    <a:gd name="T12" fmla="*/ 80 w 596"/>
                    <a:gd name="T13" fmla="*/ 214 h 214"/>
                  </a:gdLst>
                  <a:ahLst/>
                  <a:cxnLst>
                    <a:cxn ang="0">
                      <a:pos x="T0" y="T1"/>
                    </a:cxn>
                    <a:cxn ang="0">
                      <a:pos x="T2" y="T3"/>
                    </a:cxn>
                    <a:cxn ang="0">
                      <a:pos x="T4" y="T5"/>
                    </a:cxn>
                    <a:cxn ang="0">
                      <a:pos x="T6" y="T7"/>
                    </a:cxn>
                    <a:cxn ang="0">
                      <a:pos x="T8" y="T9"/>
                    </a:cxn>
                    <a:cxn ang="0">
                      <a:pos x="T10" y="T11"/>
                    </a:cxn>
                    <a:cxn ang="0">
                      <a:pos x="T12" y="T13"/>
                    </a:cxn>
                  </a:cxnLst>
                  <a:rect l="0" t="0" r="r" b="b"/>
                  <a:pathLst>
                    <a:path w="596" h="214">
                      <a:moveTo>
                        <a:pt x="80" y="214"/>
                      </a:moveTo>
                      <a:cubicBezTo>
                        <a:pt x="145" y="179"/>
                        <a:pt x="219" y="160"/>
                        <a:pt x="298" y="160"/>
                      </a:cubicBezTo>
                      <a:cubicBezTo>
                        <a:pt x="377" y="160"/>
                        <a:pt x="451" y="179"/>
                        <a:pt x="516" y="214"/>
                      </a:cubicBezTo>
                      <a:cubicBezTo>
                        <a:pt x="596" y="75"/>
                        <a:pt x="596" y="75"/>
                        <a:pt x="596" y="75"/>
                      </a:cubicBezTo>
                      <a:cubicBezTo>
                        <a:pt x="507" y="27"/>
                        <a:pt x="406" y="0"/>
                        <a:pt x="298" y="0"/>
                      </a:cubicBezTo>
                      <a:cubicBezTo>
                        <a:pt x="190" y="0"/>
                        <a:pt x="89" y="27"/>
                        <a:pt x="0" y="75"/>
                      </a:cubicBezTo>
                      <a:lnTo>
                        <a:pt x="80" y="214"/>
                      </a:lnTo>
                      <a:close/>
                    </a:path>
                  </a:pathLst>
                </a:custGeom>
                <a:solidFill>
                  <a:srgbClr val="E8C64D"/>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605" name="Freeform 13">
                  <a:extLst>
                    <a:ext uri="{FF2B5EF4-FFF2-40B4-BE49-F238E27FC236}">
                      <a16:creationId xmlns:a16="http://schemas.microsoft.com/office/drawing/2014/main" id="{D84A0E07-ECA0-EF76-A3D9-1793A1D9010D}"/>
                    </a:ext>
                  </a:extLst>
                </p:cNvPr>
                <p:cNvSpPr>
                  <a:spLocks/>
                </p:cNvSpPr>
                <p:nvPr/>
              </p:nvSpPr>
              <p:spPr bwMode="auto">
                <a:xfrm>
                  <a:off x="2001275" y="1487276"/>
                  <a:ext cx="246261" cy="351093"/>
                </a:xfrm>
                <a:custGeom>
                  <a:avLst/>
                  <a:gdLst>
                    <a:gd name="T0" fmla="*/ 80 w 378"/>
                    <a:gd name="T1" fmla="*/ 0 h 534"/>
                    <a:gd name="T2" fmla="*/ 0 w 378"/>
                    <a:gd name="T3" fmla="*/ 139 h 534"/>
                    <a:gd name="T4" fmla="*/ 218 w 378"/>
                    <a:gd name="T5" fmla="*/ 534 h 534"/>
                    <a:gd name="T6" fmla="*/ 378 w 378"/>
                    <a:gd name="T7" fmla="*/ 534 h 534"/>
                    <a:gd name="T8" fmla="*/ 80 w 378"/>
                    <a:gd name="T9" fmla="*/ 0 h 534"/>
                  </a:gdLst>
                  <a:ahLst/>
                  <a:cxnLst>
                    <a:cxn ang="0">
                      <a:pos x="T0" y="T1"/>
                    </a:cxn>
                    <a:cxn ang="0">
                      <a:pos x="T2" y="T3"/>
                    </a:cxn>
                    <a:cxn ang="0">
                      <a:pos x="T4" y="T5"/>
                    </a:cxn>
                    <a:cxn ang="0">
                      <a:pos x="T6" y="T7"/>
                    </a:cxn>
                    <a:cxn ang="0">
                      <a:pos x="T8" y="T9"/>
                    </a:cxn>
                  </a:cxnLst>
                  <a:rect l="0" t="0" r="r" b="b"/>
                  <a:pathLst>
                    <a:path w="378" h="534">
                      <a:moveTo>
                        <a:pt x="80" y="0"/>
                      </a:moveTo>
                      <a:cubicBezTo>
                        <a:pt x="0" y="139"/>
                        <a:pt x="0" y="139"/>
                        <a:pt x="0" y="139"/>
                      </a:cubicBezTo>
                      <a:cubicBezTo>
                        <a:pt x="131" y="221"/>
                        <a:pt x="218" y="367"/>
                        <a:pt x="218" y="534"/>
                      </a:cubicBezTo>
                      <a:cubicBezTo>
                        <a:pt x="378" y="534"/>
                        <a:pt x="378" y="534"/>
                        <a:pt x="378" y="534"/>
                      </a:cubicBezTo>
                      <a:cubicBezTo>
                        <a:pt x="378" y="308"/>
                        <a:pt x="259" y="111"/>
                        <a:pt x="80" y="0"/>
                      </a:cubicBez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606" name="Freihandform: Form 379">
                  <a:extLst>
                    <a:ext uri="{FF2B5EF4-FFF2-40B4-BE49-F238E27FC236}">
                      <a16:creationId xmlns:a16="http://schemas.microsoft.com/office/drawing/2014/main" id="{2A7782DE-9F39-A1F8-E93B-1AB2CEBFF104}"/>
                    </a:ext>
                  </a:extLst>
                </p:cNvPr>
                <p:cNvSpPr>
                  <a:spLocks/>
                </p:cNvSpPr>
                <p:nvPr/>
              </p:nvSpPr>
              <p:spPr bwMode="auto">
                <a:xfrm>
                  <a:off x="1555530" y="1552212"/>
                  <a:ext cx="566812" cy="286157"/>
                </a:xfrm>
                <a:custGeom>
                  <a:avLst/>
                  <a:gdLst>
                    <a:gd name="connsiteX0" fmla="*/ 283406 w 566812"/>
                    <a:gd name="connsiteY0" fmla="*/ 0 h 286157"/>
                    <a:gd name="connsiteX1" fmla="*/ 566812 w 566812"/>
                    <a:gd name="connsiteY1" fmla="*/ 286157 h 286157"/>
                    <a:gd name="connsiteX2" fmla="*/ 506571 w 566812"/>
                    <a:gd name="connsiteY2" fmla="*/ 286157 h 286157"/>
                    <a:gd name="connsiteX3" fmla="*/ 283406 w 566812"/>
                    <a:gd name="connsiteY3" fmla="*/ 60826 h 286157"/>
                    <a:gd name="connsiteX4" fmla="*/ 60241 w 566812"/>
                    <a:gd name="connsiteY4" fmla="*/ 286157 h 286157"/>
                    <a:gd name="connsiteX5" fmla="*/ 0 w 566812"/>
                    <a:gd name="connsiteY5" fmla="*/ 286157 h 286157"/>
                    <a:gd name="connsiteX6" fmla="*/ 283406 w 566812"/>
                    <a:gd name="connsiteY6" fmla="*/ 0 h 28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812" h="286157">
                      <a:moveTo>
                        <a:pt x="283406" y="0"/>
                      </a:moveTo>
                      <a:cubicBezTo>
                        <a:pt x="439768" y="0"/>
                        <a:pt x="566812" y="128277"/>
                        <a:pt x="566812" y="286157"/>
                      </a:cubicBezTo>
                      <a:lnTo>
                        <a:pt x="506571" y="286157"/>
                      </a:lnTo>
                      <a:cubicBezTo>
                        <a:pt x="506571" y="161837"/>
                        <a:pt x="406532" y="60826"/>
                        <a:pt x="283406" y="60826"/>
                      </a:cubicBezTo>
                      <a:cubicBezTo>
                        <a:pt x="160281" y="60826"/>
                        <a:pt x="60241" y="161837"/>
                        <a:pt x="60241" y="286157"/>
                      </a:cubicBezTo>
                      <a:lnTo>
                        <a:pt x="0" y="286157"/>
                      </a:lnTo>
                      <a:cubicBezTo>
                        <a:pt x="0" y="128277"/>
                        <a:pt x="127044" y="0"/>
                        <a:pt x="283406" y="0"/>
                      </a:cubicBez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algn="ctr"/>
                  <a:endParaRPr lang="de-DE" sz="600" dirty="0">
                    <a:solidFill>
                      <a:schemeClr val="bg2"/>
                    </a:solidFill>
                    <a:latin typeface="+mn-lt"/>
                    <a:cs typeface="DWS Sans TT Light" panose="02010404010101010104" pitchFamily="2" charset="0"/>
                  </a:endParaRPr>
                </a:p>
              </p:txBody>
            </p:sp>
          </p:grpSp>
        </p:grpSp>
        <p:grpSp>
          <p:nvGrpSpPr>
            <p:cNvPr id="152" name="Group 3">
              <a:extLst>
                <a:ext uri="{FF2B5EF4-FFF2-40B4-BE49-F238E27FC236}">
                  <a16:creationId xmlns:a16="http://schemas.microsoft.com/office/drawing/2014/main" id="{50096CE7-4C95-544C-BCAE-8B56124CA98E}"/>
                </a:ext>
              </a:extLst>
            </p:cNvPr>
            <p:cNvGrpSpPr/>
            <p:nvPr/>
          </p:nvGrpSpPr>
          <p:grpSpPr>
            <a:xfrm>
              <a:off x="539236" y="3465834"/>
              <a:ext cx="700251" cy="410540"/>
              <a:chOff x="523862" y="3642063"/>
              <a:chExt cx="847649" cy="510709"/>
            </a:xfrm>
          </p:grpSpPr>
          <p:sp>
            <p:nvSpPr>
              <p:cNvPr id="153" name="Rechteck 273">
                <a:extLst>
                  <a:ext uri="{FF2B5EF4-FFF2-40B4-BE49-F238E27FC236}">
                    <a16:creationId xmlns:a16="http://schemas.microsoft.com/office/drawing/2014/main" id="{AEFE0900-085F-E610-CFC4-E0836E6D70AA}"/>
                  </a:ext>
                </a:extLst>
              </p:cNvPr>
              <p:cNvSpPr/>
              <p:nvPr/>
            </p:nvSpPr>
            <p:spPr>
              <a:xfrm>
                <a:off x="523862" y="3780867"/>
                <a:ext cx="847649" cy="371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bg1"/>
                  </a:buClr>
                </a:pPr>
                <a:r>
                  <a:rPr lang="en-GB" sz="700" dirty="0" err="1">
                    <a:solidFill>
                      <a:schemeClr val="bg2"/>
                    </a:solidFill>
                    <a:latin typeface="DWS Sans Light" panose="02010404010101010104" pitchFamily="50" charset="0"/>
                    <a:cs typeface="DWS Sans Light" panose="02010404010101010104" pitchFamily="50" charset="0"/>
                  </a:rPr>
                  <a:t>lungo</a:t>
                </a:r>
                <a:r>
                  <a:rPr lang="en-GB" sz="700" dirty="0">
                    <a:solidFill>
                      <a:schemeClr val="bg2"/>
                    </a:solidFill>
                    <a:latin typeface="DWS Sans Light" panose="02010404010101010104" pitchFamily="50" charset="0"/>
                    <a:cs typeface="DWS Sans Light" panose="02010404010101010104" pitchFamily="50" charset="0"/>
                  </a:rPr>
                  <a:t>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a:p>
                <a:pPr algn="ctr">
                  <a:spcBef>
                    <a:spcPts val="600"/>
                  </a:spcBef>
                  <a:buClr>
                    <a:schemeClr val="bg1"/>
                  </a:buClr>
                </a:pPr>
                <a:endParaRPr lang="de-DE" sz="700" dirty="0">
                  <a:solidFill>
                    <a:schemeClr val="bg2"/>
                  </a:solidFill>
                  <a:latin typeface="DWS Sans Light" panose="02010404010101010104" pitchFamily="50" charset="0"/>
                  <a:cs typeface="DWS Sans Light" panose="02010404010101010104" pitchFamily="50" charset="0"/>
                </a:endParaRPr>
              </a:p>
            </p:txBody>
          </p:sp>
          <p:sp>
            <p:nvSpPr>
              <p:cNvPr id="180" name="Rectangle 2">
                <a:extLst>
                  <a:ext uri="{FF2B5EF4-FFF2-40B4-BE49-F238E27FC236}">
                    <a16:creationId xmlns:a16="http://schemas.microsoft.com/office/drawing/2014/main" id="{D4B759D6-3D7C-E45B-3310-9BA7AB58256C}"/>
                  </a:ext>
                </a:extLst>
              </p:cNvPr>
              <p:cNvSpPr/>
              <p:nvPr/>
            </p:nvSpPr>
            <p:spPr bwMode="auto">
              <a:xfrm>
                <a:off x="612278" y="3642063"/>
                <a:ext cx="205200" cy="84034"/>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600" dirty="0">
                  <a:latin typeface="+mn-lt"/>
                </a:endParaRPr>
              </a:p>
            </p:txBody>
          </p:sp>
          <p:sp>
            <p:nvSpPr>
              <p:cNvPr id="576" name="Rectangle 215">
                <a:extLst>
                  <a:ext uri="{FF2B5EF4-FFF2-40B4-BE49-F238E27FC236}">
                    <a16:creationId xmlns:a16="http://schemas.microsoft.com/office/drawing/2014/main" id="{C0E1EB27-E8CA-1B0F-B5DC-494C68D54565}"/>
                  </a:ext>
                </a:extLst>
              </p:cNvPr>
              <p:cNvSpPr/>
              <p:nvPr/>
            </p:nvSpPr>
            <p:spPr bwMode="auto">
              <a:xfrm>
                <a:off x="1069462" y="3642063"/>
                <a:ext cx="205200" cy="84034"/>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600" dirty="0">
                  <a:latin typeface="+mn-lt"/>
                </a:endParaRPr>
              </a:p>
            </p:txBody>
          </p:sp>
          <p:sp>
            <p:nvSpPr>
              <p:cNvPr id="577" name="Rectangle 216">
                <a:extLst>
                  <a:ext uri="{FF2B5EF4-FFF2-40B4-BE49-F238E27FC236}">
                    <a16:creationId xmlns:a16="http://schemas.microsoft.com/office/drawing/2014/main" id="{317DA38F-DA67-D3D4-B113-64A13AEE591D}"/>
                  </a:ext>
                </a:extLst>
              </p:cNvPr>
              <p:cNvSpPr/>
              <p:nvPr/>
            </p:nvSpPr>
            <p:spPr bwMode="auto">
              <a:xfrm>
                <a:off x="840870" y="3642063"/>
                <a:ext cx="205200" cy="84034"/>
              </a:xfrm>
              <a:prstGeom prst="rect">
                <a:avLst/>
              </a:prstGeom>
              <a:solidFill>
                <a:srgbClr val="E8C64D"/>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600" dirty="0">
                  <a:latin typeface="+mn-lt"/>
                </a:endParaRPr>
              </a:p>
            </p:txBody>
          </p:sp>
        </p:grpSp>
      </p:grpSp>
      <p:sp>
        <p:nvSpPr>
          <p:cNvPr id="543" name="Textplatzhalter 39">
            <a:extLst>
              <a:ext uri="{FF2B5EF4-FFF2-40B4-BE49-F238E27FC236}">
                <a16:creationId xmlns:a16="http://schemas.microsoft.com/office/drawing/2014/main" id="{118BACEF-2BC4-01CE-4382-2ED0B9E441C0}"/>
              </a:ext>
            </a:extLst>
          </p:cNvPr>
          <p:cNvSpPr txBox="1">
            <a:spLocks/>
          </p:cNvSpPr>
          <p:nvPr/>
        </p:nvSpPr>
        <p:spPr bwMode="gray">
          <a:xfrm>
            <a:off x="650231" y="7683225"/>
            <a:ext cx="166712" cy="169277"/>
          </a:xfrm>
          <a:prstGeom prst="rect">
            <a:avLst/>
          </a:prstGeom>
        </p:spPr>
        <p:txBody>
          <a:bodyPr vert="horz" wrap="square" lIns="0" tIns="0" rIns="0" bIns="0" rtlCol="0"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1100" b="0" kern="1200">
                <a:solidFill>
                  <a:schemeClr val="accent2"/>
                </a:solidFill>
                <a:latin typeface="+mn-lt"/>
                <a:ea typeface="ＭＳ Ｐゴシック" pitchFamily="-109" charset="-128"/>
                <a:cs typeface="ＭＳ Ｐゴシック" pitchFamily="-109" charset="-128"/>
              </a:defRPr>
            </a:lvl1pPr>
            <a:lvl2pPr marL="0" indent="0" algn="l" rtl="0" eaLnBrk="1" fontAlgn="base" hangingPunct="1">
              <a:lnSpc>
                <a:spcPct val="100000"/>
              </a:lnSpc>
              <a:spcBef>
                <a:spcPts val="0"/>
              </a:spcBef>
              <a:spcAft>
                <a:spcPts val="0"/>
              </a:spcAft>
              <a:buFont typeface="Arial" panose="020B0604020202020204" pitchFamily="34" charset="0"/>
              <a:buNone/>
              <a:defRPr sz="700" kern="1200">
                <a:solidFill>
                  <a:schemeClr val="accent3"/>
                </a:solidFill>
                <a:latin typeface="+mn-lt"/>
                <a:ea typeface="ＭＳ Ｐゴシック" pitchFamily="-109" charset="-128"/>
              </a:defRPr>
            </a:lvl2pPr>
            <a:lvl3pPr marL="0" indent="0" algn="l" rtl="0" eaLnBrk="1" fontAlgn="base" hangingPunct="1">
              <a:lnSpc>
                <a:spcPct val="100000"/>
              </a:lnSpc>
              <a:spcBef>
                <a:spcPts val="0"/>
              </a:spcBef>
              <a:spcAft>
                <a:spcPts val="0"/>
              </a:spcAft>
              <a:buFont typeface="Arial" panose="020B0604020202020204" pitchFamily="34" charset="0"/>
              <a:buNone/>
              <a:defRPr sz="700" kern="1200">
                <a:solidFill>
                  <a:schemeClr val="accent3"/>
                </a:solidFill>
                <a:latin typeface="+mn-lt"/>
                <a:ea typeface="ＭＳ Ｐゴシック" pitchFamily="-109" charset="-128"/>
              </a:defRPr>
            </a:lvl3pPr>
            <a:lvl4pPr marL="0" indent="0" algn="l" rtl="0" eaLnBrk="1" fontAlgn="base" hangingPunct="1">
              <a:lnSpc>
                <a:spcPct val="100000"/>
              </a:lnSpc>
              <a:spcBef>
                <a:spcPts val="0"/>
              </a:spcBef>
              <a:spcAft>
                <a:spcPts val="0"/>
              </a:spcAft>
              <a:buFont typeface="Arial" panose="020B0604020202020204" pitchFamily="34" charset="0"/>
              <a:buNone/>
              <a:defRPr sz="700" kern="1200">
                <a:solidFill>
                  <a:schemeClr val="accent3"/>
                </a:solidFill>
                <a:latin typeface="+mn-lt"/>
                <a:ea typeface="ＭＳ Ｐゴシック" pitchFamily="-109" charset="-128"/>
              </a:defRPr>
            </a:lvl4pPr>
            <a:lvl5pPr marL="0" indent="0" algn="l" rtl="0" eaLnBrk="1" fontAlgn="base" hangingPunct="1">
              <a:lnSpc>
                <a:spcPct val="100000"/>
              </a:lnSpc>
              <a:spcBef>
                <a:spcPts val="0"/>
              </a:spcBef>
              <a:spcAft>
                <a:spcPts val="0"/>
              </a:spcAft>
              <a:buFont typeface="Arial" panose="020B0604020202020204" pitchFamily="34" charset="0"/>
              <a:buNone/>
              <a:defRPr sz="7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r>
              <a:rPr lang="de-DE" dirty="0">
                <a:latin typeface="DWS Sans Light" panose="02010404010101010104" pitchFamily="50" charset="0"/>
                <a:cs typeface="DWS Sans Light" panose="02010404010101010104" pitchFamily="50" charset="0"/>
              </a:rPr>
              <a:t>#4</a:t>
            </a:r>
          </a:p>
        </p:txBody>
      </p:sp>
      <p:sp>
        <p:nvSpPr>
          <p:cNvPr id="553" name="Textplatzhalter 40">
            <a:extLst>
              <a:ext uri="{FF2B5EF4-FFF2-40B4-BE49-F238E27FC236}">
                <a16:creationId xmlns:a16="http://schemas.microsoft.com/office/drawing/2014/main" id="{3FC8155A-2CEF-69AE-153A-D838BDF97051}"/>
              </a:ext>
            </a:extLst>
          </p:cNvPr>
          <p:cNvSpPr txBox="1">
            <a:spLocks/>
          </p:cNvSpPr>
          <p:nvPr/>
        </p:nvSpPr>
        <p:spPr bwMode="gray">
          <a:xfrm>
            <a:off x="883652" y="7688766"/>
            <a:ext cx="6120680" cy="169277"/>
          </a:xfrm>
          <a:prstGeom prst="rect">
            <a:avLst/>
          </a:prstGeom>
        </p:spPr>
        <p:txBody>
          <a:bodyPr vert="horz" wrap="square" lIns="0" tIns="0" rIns="0" bIns="0" rtlCol="0"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1100" b="0" kern="1200">
                <a:solidFill>
                  <a:schemeClr val="accent3"/>
                </a:solidFill>
                <a:latin typeface="+mn-lt"/>
                <a:ea typeface="ＭＳ Ｐゴシック" pitchFamily="-109" charset="-128"/>
                <a:cs typeface="ＭＳ Ｐゴシック" pitchFamily="-109" charset="-128"/>
              </a:defRPr>
            </a:lvl1pPr>
            <a:lvl2pPr marL="0" indent="0" algn="l" rtl="0" eaLnBrk="1" fontAlgn="base" hangingPunct="1">
              <a:lnSpc>
                <a:spcPct val="100000"/>
              </a:lnSpc>
              <a:spcBef>
                <a:spcPts val="0"/>
              </a:spcBef>
              <a:spcAft>
                <a:spcPts val="0"/>
              </a:spcAft>
              <a:buFont typeface="Arial" panose="020B0604020202020204" pitchFamily="34" charset="0"/>
              <a:buNone/>
              <a:defRPr sz="700" kern="1200">
                <a:solidFill>
                  <a:schemeClr val="accent3"/>
                </a:solidFill>
                <a:latin typeface="+mn-lt"/>
                <a:ea typeface="ＭＳ Ｐゴシック" pitchFamily="-109" charset="-128"/>
              </a:defRPr>
            </a:lvl2pPr>
            <a:lvl3pPr marL="0" indent="0" algn="l" rtl="0" eaLnBrk="1" fontAlgn="base" hangingPunct="1">
              <a:lnSpc>
                <a:spcPct val="100000"/>
              </a:lnSpc>
              <a:spcBef>
                <a:spcPts val="0"/>
              </a:spcBef>
              <a:spcAft>
                <a:spcPts val="0"/>
              </a:spcAft>
              <a:buFont typeface="Arial" panose="020B0604020202020204" pitchFamily="34" charset="0"/>
              <a:buNone/>
              <a:defRPr sz="700" kern="1200">
                <a:solidFill>
                  <a:schemeClr val="accent3"/>
                </a:solidFill>
                <a:latin typeface="+mn-lt"/>
                <a:ea typeface="ＭＳ Ｐゴシック" pitchFamily="-109" charset="-128"/>
              </a:defRPr>
            </a:lvl3pPr>
            <a:lvl4pPr marL="0" indent="0" algn="l" rtl="0" eaLnBrk="1" fontAlgn="base" hangingPunct="1">
              <a:lnSpc>
                <a:spcPct val="100000"/>
              </a:lnSpc>
              <a:spcBef>
                <a:spcPts val="0"/>
              </a:spcBef>
              <a:spcAft>
                <a:spcPts val="0"/>
              </a:spcAft>
              <a:buFont typeface="Arial" panose="020B0604020202020204" pitchFamily="34" charset="0"/>
              <a:buNone/>
              <a:defRPr sz="700" kern="1200">
                <a:solidFill>
                  <a:schemeClr val="accent3"/>
                </a:solidFill>
                <a:latin typeface="+mn-lt"/>
                <a:ea typeface="ＭＳ Ｐゴシック" pitchFamily="-109" charset="-128"/>
              </a:defRPr>
            </a:lvl4pPr>
            <a:lvl5pPr marL="0" indent="0" algn="l" rtl="0" eaLnBrk="1" fontAlgn="base" hangingPunct="1">
              <a:lnSpc>
                <a:spcPct val="100000"/>
              </a:lnSpc>
              <a:spcBef>
                <a:spcPts val="0"/>
              </a:spcBef>
              <a:spcAft>
                <a:spcPts val="0"/>
              </a:spcAft>
              <a:buFont typeface="Arial" panose="020B0604020202020204" pitchFamily="34" charset="0"/>
              <a:buNone/>
              <a:defRPr sz="7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r>
              <a:rPr lang="de-DE" dirty="0" err="1">
                <a:latin typeface="DWS Slab Light" panose="02010404010101010104" pitchFamily="50" charset="0"/>
                <a:cs typeface="DWS Slab Light" panose="02010404010101010104" pitchFamily="50" charset="0"/>
              </a:rPr>
              <a:t>Valute</a:t>
            </a:r>
            <a:endParaRPr lang="de-DE" dirty="0">
              <a:latin typeface="DWS Slab Light" panose="02010404010101010104" pitchFamily="50" charset="0"/>
              <a:cs typeface="DWS Slab Light" panose="02010404010101010104" pitchFamily="50" charset="0"/>
            </a:endParaRPr>
          </a:p>
        </p:txBody>
      </p:sp>
      <p:sp>
        <p:nvSpPr>
          <p:cNvPr id="558" name="Textplatzhalter 41">
            <a:extLst>
              <a:ext uri="{FF2B5EF4-FFF2-40B4-BE49-F238E27FC236}">
                <a16:creationId xmlns:a16="http://schemas.microsoft.com/office/drawing/2014/main" id="{AA5C1F65-1C1A-F965-0DAA-BB6880281F7D}"/>
              </a:ext>
            </a:extLst>
          </p:cNvPr>
          <p:cNvSpPr txBox="1">
            <a:spLocks/>
          </p:cNvSpPr>
          <p:nvPr/>
        </p:nvSpPr>
        <p:spPr bwMode="gray">
          <a:xfrm>
            <a:off x="644399" y="7852853"/>
            <a:ext cx="6350774" cy="183999"/>
          </a:xfrm>
          <a:prstGeom prst="rect">
            <a:avLst/>
          </a:prstGeom>
        </p:spPr>
        <p:txBody>
          <a:bodyPr vert="horz" lIns="0" tIns="0" rIns="0" bIns="0" rtlCol="0">
            <a:normAutofit/>
          </a:bodyPr>
          <a:lstStyle>
            <a:lvl1pPr algn="l" rtl="0" eaLnBrk="1" fontAlgn="base" hangingPunct="1">
              <a:lnSpc>
                <a:spcPct val="106000"/>
              </a:lnSpc>
              <a:spcBef>
                <a:spcPts val="800"/>
              </a:spcBef>
              <a:spcAft>
                <a:spcPts val="0"/>
              </a:spcAft>
              <a:defRPr sz="1000" b="1" kern="1200">
                <a:solidFill>
                  <a:schemeClr val="accent2"/>
                </a:solidFill>
                <a:latin typeface="+mn-lt"/>
                <a:ea typeface="ＭＳ Ｐゴシック" pitchFamily="-109" charset="-128"/>
                <a:cs typeface="ＭＳ Ｐゴシック" pitchFamily="-109" charset="-128"/>
              </a:defRPr>
            </a:lvl1pPr>
            <a:lvl2pPr algn="l" rtl="0" eaLnBrk="1" fontAlgn="base" hangingPunct="1">
              <a:lnSpc>
                <a:spcPct val="106000"/>
              </a:lnSpc>
              <a:spcBef>
                <a:spcPts val="200"/>
              </a:spcBef>
              <a:spcAft>
                <a:spcPts val="0"/>
              </a:spcAft>
              <a:defRPr sz="1000" kern="1200">
                <a:solidFill>
                  <a:schemeClr val="bg2"/>
                </a:solidFill>
                <a:latin typeface="+mn-lt"/>
                <a:ea typeface="ＭＳ Ｐゴシック" pitchFamily="-109" charset="-128"/>
              </a:defRPr>
            </a:lvl2pPr>
            <a:lvl3pPr marL="9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3pPr>
            <a:lvl4pPr marL="18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4pPr>
            <a:lvl5pPr marL="0" indent="0" algn="l" rtl="0" eaLnBrk="1" fontAlgn="base" hangingPunct="1">
              <a:lnSpc>
                <a:spcPct val="106000"/>
              </a:lnSpc>
              <a:spcBef>
                <a:spcPts val="1200"/>
              </a:spcBef>
              <a:spcAft>
                <a:spcPts val="0"/>
              </a:spcAft>
              <a:buFont typeface="Arial" panose="020B0604020202020204" pitchFamily="34" charset="0"/>
              <a:buNone/>
              <a:defRPr sz="12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pPr defTabSz="914400"/>
            <a:r>
              <a:rPr lang="de-DE" b="0" dirty="0">
                <a:latin typeface="DWS Sans Light" panose="02010404010101010104" pitchFamily="50" charset="0"/>
                <a:cs typeface="DWS Sans Light" panose="02010404010101010104" pitchFamily="50" charset="0"/>
              </a:rPr>
              <a:t>Euro/</a:t>
            </a:r>
            <a:r>
              <a:rPr lang="de-DE" b="0" dirty="0" err="1">
                <a:latin typeface="DWS Sans Light" panose="02010404010101010104" pitchFamily="50" charset="0"/>
                <a:cs typeface="DWS Sans Light" panose="02010404010101010104" pitchFamily="50" charset="0"/>
              </a:rPr>
              <a:t>Dollaro</a:t>
            </a:r>
            <a:r>
              <a:rPr lang="de-DE" b="0" dirty="0">
                <a:latin typeface="DWS Sans Light" panose="02010404010101010104" pitchFamily="50" charset="0"/>
                <a:cs typeface="DWS Sans Light" panose="02010404010101010104" pitchFamily="50" charset="0"/>
              </a:rPr>
              <a:t>: </a:t>
            </a:r>
            <a:r>
              <a:rPr lang="it-IT" b="0" dirty="0">
                <a:solidFill>
                  <a:schemeClr val="bg2"/>
                </a:solidFill>
                <a:latin typeface="DWS Sans Light" panose="02010404010101010104" pitchFamily="50" charset="0"/>
                <a:cs typeface="DWS Sans Light" panose="02010404010101010104" pitchFamily="50" charset="0"/>
              </a:rPr>
              <a:t>Le turbolenze politiche probabilmente rafforzeranno l’euro</a:t>
            </a:r>
          </a:p>
          <a:p>
            <a:pPr defTabSz="914400"/>
            <a:endParaRPr lang="de-DE" sz="950" dirty="0">
              <a:solidFill>
                <a:srgbClr val="304849"/>
              </a:solidFill>
              <a:latin typeface="DWS Sans Light" panose="02010404010101010104" pitchFamily="50" charset="0"/>
            </a:endParaRPr>
          </a:p>
        </p:txBody>
      </p:sp>
      <p:sp>
        <p:nvSpPr>
          <p:cNvPr id="559" name="Textplatzhalter 44">
            <a:extLst>
              <a:ext uri="{FF2B5EF4-FFF2-40B4-BE49-F238E27FC236}">
                <a16:creationId xmlns:a16="http://schemas.microsoft.com/office/drawing/2014/main" id="{6C8C2368-6A17-7247-F135-D4632AC87004}"/>
              </a:ext>
            </a:extLst>
          </p:cNvPr>
          <p:cNvSpPr txBox="1">
            <a:spLocks/>
          </p:cNvSpPr>
          <p:nvPr/>
        </p:nvSpPr>
        <p:spPr bwMode="gray">
          <a:xfrm>
            <a:off x="680398" y="8959060"/>
            <a:ext cx="239495" cy="169277"/>
          </a:xfrm>
          <a:prstGeom prst="rect">
            <a:avLst/>
          </a:prstGeom>
        </p:spPr>
        <p:txBody>
          <a:bodyPr vert="horz" wrap="square" lIns="0" tIns="0" rIns="0" bIns="0" rtlCol="0"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1100" b="0" kern="1200">
                <a:solidFill>
                  <a:schemeClr val="accent2"/>
                </a:solidFill>
                <a:latin typeface="+mn-lt"/>
                <a:ea typeface="ＭＳ Ｐゴシック" pitchFamily="-109" charset="-128"/>
                <a:cs typeface="ＭＳ Ｐゴシック" pitchFamily="-109" charset="-128"/>
              </a:defRPr>
            </a:lvl1pPr>
            <a:lvl2pPr marL="0" indent="0" algn="l" rtl="0" eaLnBrk="1" fontAlgn="base" hangingPunct="1">
              <a:lnSpc>
                <a:spcPct val="100000"/>
              </a:lnSpc>
              <a:spcBef>
                <a:spcPts val="0"/>
              </a:spcBef>
              <a:spcAft>
                <a:spcPts val="0"/>
              </a:spcAft>
              <a:buFont typeface="Arial" panose="020B0604020202020204" pitchFamily="34" charset="0"/>
              <a:buNone/>
              <a:defRPr sz="700" kern="1200">
                <a:solidFill>
                  <a:schemeClr val="accent3"/>
                </a:solidFill>
                <a:latin typeface="+mn-lt"/>
                <a:ea typeface="ＭＳ Ｐゴシック" pitchFamily="-109" charset="-128"/>
              </a:defRPr>
            </a:lvl2pPr>
            <a:lvl3pPr marL="0" indent="0" algn="l" rtl="0" eaLnBrk="1" fontAlgn="base" hangingPunct="1">
              <a:lnSpc>
                <a:spcPct val="100000"/>
              </a:lnSpc>
              <a:spcBef>
                <a:spcPts val="0"/>
              </a:spcBef>
              <a:spcAft>
                <a:spcPts val="0"/>
              </a:spcAft>
              <a:buFont typeface="Arial" panose="020B0604020202020204" pitchFamily="34" charset="0"/>
              <a:buNone/>
              <a:defRPr sz="700" kern="1200">
                <a:solidFill>
                  <a:schemeClr val="accent3"/>
                </a:solidFill>
                <a:latin typeface="+mn-lt"/>
                <a:ea typeface="ＭＳ Ｐゴシック" pitchFamily="-109" charset="-128"/>
              </a:defRPr>
            </a:lvl3pPr>
            <a:lvl4pPr marL="0" indent="0" algn="l" rtl="0" eaLnBrk="1" fontAlgn="base" hangingPunct="1">
              <a:lnSpc>
                <a:spcPct val="100000"/>
              </a:lnSpc>
              <a:spcBef>
                <a:spcPts val="0"/>
              </a:spcBef>
              <a:spcAft>
                <a:spcPts val="0"/>
              </a:spcAft>
              <a:buFont typeface="Arial" panose="020B0604020202020204" pitchFamily="34" charset="0"/>
              <a:buNone/>
              <a:defRPr sz="700" kern="1200">
                <a:solidFill>
                  <a:schemeClr val="accent3"/>
                </a:solidFill>
                <a:latin typeface="+mn-lt"/>
                <a:ea typeface="ＭＳ Ｐゴシック" pitchFamily="-109" charset="-128"/>
              </a:defRPr>
            </a:lvl4pPr>
            <a:lvl5pPr marL="0" indent="0" algn="l" rtl="0" eaLnBrk="1" fontAlgn="base" hangingPunct="1">
              <a:lnSpc>
                <a:spcPct val="100000"/>
              </a:lnSpc>
              <a:spcBef>
                <a:spcPts val="0"/>
              </a:spcBef>
              <a:spcAft>
                <a:spcPts val="0"/>
              </a:spcAft>
              <a:buFont typeface="Arial" panose="020B0604020202020204" pitchFamily="34" charset="0"/>
              <a:buNone/>
              <a:defRPr sz="7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r>
              <a:rPr lang="de-DE" dirty="0">
                <a:latin typeface="DWS Sans Light" panose="02010404010101010104" pitchFamily="50" charset="0"/>
                <a:cs typeface="DWS Sans Light" panose="02010404010101010104" pitchFamily="50" charset="0"/>
              </a:rPr>
              <a:t>#5</a:t>
            </a:r>
          </a:p>
        </p:txBody>
      </p:sp>
      <p:sp>
        <p:nvSpPr>
          <p:cNvPr id="560" name="Textplatzhalter 45">
            <a:extLst>
              <a:ext uri="{FF2B5EF4-FFF2-40B4-BE49-F238E27FC236}">
                <a16:creationId xmlns:a16="http://schemas.microsoft.com/office/drawing/2014/main" id="{F5E4323B-8D17-9698-E562-C846EC556350}"/>
              </a:ext>
            </a:extLst>
          </p:cNvPr>
          <p:cNvSpPr txBox="1">
            <a:spLocks/>
          </p:cNvSpPr>
          <p:nvPr/>
        </p:nvSpPr>
        <p:spPr bwMode="gray">
          <a:xfrm>
            <a:off x="879619" y="8959411"/>
            <a:ext cx="6120680" cy="169277"/>
          </a:xfrm>
          <a:prstGeom prst="rect">
            <a:avLst/>
          </a:prstGeom>
        </p:spPr>
        <p:txBody>
          <a:bodyPr vert="horz" wrap="square" lIns="0" tIns="0" rIns="0" bIns="0" rtlCol="0" anchor="ctr">
            <a:spAutoFit/>
          </a:bodyPr>
          <a:lstStyle>
            <a:lvl1pPr marL="0" marR="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sz="1100" b="0" kern="1200">
                <a:solidFill>
                  <a:schemeClr val="accent3"/>
                </a:solidFill>
                <a:latin typeface="+mn-lt"/>
                <a:ea typeface="ＭＳ Ｐゴシック" pitchFamily="-109" charset="-128"/>
                <a:cs typeface="ＭＳ Ｐゴシック" pitchFamily="-109" charset="-128"/>
              </a:defRPr>
            </a:lvl1pPr>
            <a:lvl2pPr marL="0" indent="0" algn="l" rtl="0" eaLnBrk="1" fontAlgn="base" hangingPunct="1">
              <a:lnSpc>
                <a:spcPct val="100000"/>
              </a:lnSpc>
              <a:spcBef>
                <a:spcPts val="0"/>
              </a:spcBef>
              <a:spcAft>
                <a:spcPts val="0"/>
              </a:spcAft>
              <a:buFont typeface="Arial" panose="020B0604020202020204" pitchFamily="34" charset="0"/>
              <a:buNone/>
              <a:defRPr sz="700" kern="1200">
                <a:solidFill>
                  <a:schemeClr val="accent3"/>
                </a:solidFill>
                <a:latin typeface="+mn-lt"/>
                <a:ea typeface="ＭＳ Ｐゴシック" pitchFamily="-109" charset="-128"/>
              </a:defRPr>
            </a:lvl2pPr>
            <a:lvl3pPr marL="0" indent="0" algn="l" rtl="0" eaLnBrk="1" fontAlgn="base" hangingPunct="1">
              <a:lnSpc>
                <a:spcPct val="100000"/>
              </a:lnSpc>
              <a:spcBef>
                <a:spcPts val="0"/>
              </a:spcBef>
              <a:spcAft>
                <a:spcPts val="0"/>
              </a:spcAft>
              <a:buFont typeface="Arial" panose="020B0604020202020204" pitchFamily="34" charset="0"/>
              <a:buNone/>
              <a:defRPr sz="700" kern="1200">
                <a:solidFill>
                  <a:schemeClr val="accent3"/>
                </a:solidFill>
                <a:latin typeface="+mn-lt"/>
                <a:ea typeface="ＭＳ Ｐゴシック" pitchFamily="-109" charset="-128"/>
              </a:defRPr>
            </a:lvl3pPr>
            <a:lvl4pPr marL="0" indent="0" algn="l" rtl="0" eaLnBrk="1" fontAlgn="base" hangingPunct="1">
              <a:lnSpc>
                <a:spcPct val="100000"/>
              </a:lnSpc>
              <a:spcBef>
                <a:spcPts val="0"/>
              </a:spcBef>
              <a:spcAft>
                <a:spcPts val="0"/>
              </a:spcAft>
              <a:buFont typeface="Arial" panose="020B0604020202020204" pitchFamily="34" charset="0"/>
              <a:buNone/>
              <a:defRPr sz="700" kern="1200">
                <a:solidFill>
                  <a:schemeClr val="accent3"/>
                </a:solidFill>
                <a:latin typeface="+mn-lt"/>
                <a:ea typeface="ＭＳ Ｐゴシック" pitchFamily="-109" charset="-128"/>
              </a:defRPr>
            </a:lvl4pPr>
            <a:lvl5pPr marL="0" indent="0" algn="l" rtl="0" eaLnBrk="1" fontAlgn="base" hangingPunct="1">
              <a:lnSpc>
                <a:spcPct val="100000"/>
              </a:lnSpc>
              <a:spcBef>
                <a:spcPts val="0"/>
              </a:spcBef>
              <a:spcAft>
                <a:spcPts val="0"/>
              </a:spcAft>
              <a:buFont typeface="Arial" panose="020B0604020202020204" pitchFamily="34" charset="0"/>
              <a:buNone/>
              <a:defRPr sz="7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r>
              <a:rPr lang="en-GB" dirty="0">
                <a:latin typeface="DWS Slab Light" panose="02010404010101010104" pitchFamily="50" charset="0"/>
                <a:cs typeface="DWS Slab Light" panose="02010404010101010104" pitchFamily="50" charset="0"/>
              </a:rPr>
              <a:t>Asset </a:t>
            </a:r>
            <a:r>
              <a:rPr lang="en-GB" dirty="0" err="1">
                <a:latin typeface="DWS Slab Light" panose="02010404010101010104" pitchFamily="50" charset="0"/>
                <a:cs typeface="DWS Slab Light" panose="02010404010101010104" pitchFamily="50" charset="0"/>
              </a:rPr>
              <a:t>Alternativi</a:t>
            </a:r>
            <a:endParaRPr lang="en-GB" dirty="0">
              <a:latin typeface="DWS Slab Light" panose="02010404010101010104" pitchFamily="50" charset="0"/>
              <a:cs typeface="DWS Slab Light" panose="02010404010101010104" pitchFamily="50" charset="0"/>
            </a:endParaRPr>
          </a:p>
        </p:txBody>
      </p:sp>
      <p:sp>
        <p:nvSpPr>
          <p:cNvPr id="561" name="Textplatzhalter 46">
            <a:extLst>
              <a:ext uri="{FF2B5EF4-FFF2-40B4-BE49-F238E27FC236}">
                <a16:creationId xmlns:a16="http://schemas.microsoft.com/office/drawing/2014/main" id="{2D65B3E2-E4BB-B74B-7A74-881790F125CA}"/>
              </a:ext>
            </a:extLst>
          </p:cNvPr>
          <p:cNvSpPr txBox="1">
            <a:spLocks/>
          </p:cNvSpPr>
          <p:nvPr/>
        </p:nvSpPr>
        <p:spPr bwMode="gray">
          <a:xfrm>
            <a:off x="681203" y="9162381"/>
            <a:ext cx="6350457" cy="183999"/>
          </a:xfrm>
          <a:prstGeom prst="rect">
            <a:avLst/>
          </a:prstGeom>
        </p:spPr>
        <p:txBody>
          <a:bodyPr vert="horz" lIns="0" tIns="0" rIns="0" bIns="0" rtlCol="0">
            <a:normAutofit/>
          </a:bodyPr>
          <a:lstStyle>
            <a:lvl1pPr algn="l" rtl="0" eaLnBrk="1" fontAlgn="base" hangingPunct="1">
              <a:lnSpc>
                <a:spcPct val="106000"/>
              </a:lnSpc>
              <a:spcBef>
                <a:spcPts val="800"/>
              </a:spcBef>
              <a:spcAft>
                <a:spcPts val="0"/>
              </a:spcAft>
              <a:defRPr sz="1000" b="1" kern="1200">
                <a:solidFill>
                  <a:schemeClr val="accent2"/>
                </a:solidFill>
                <a:latin typeface="+mn-lt"/>
                <a:ea typeface="ＭＳ Ｐゴシック" pitchFamily="-109" charset="-128"/>
                <a:cs typeface="ＭＳ Ｐゴシック" pitchFamily="-109" charset="-128"/>
              </a:defRPr>
            </a:lvl1pPr>
            <a:lvl2pPr algn="l" rtl="0" eaLnBrk="1" fontAlgn="base" hangingPunct="1">
              <a:lnSpc>
                <a:spcPct val="106000"/>
              </a:lnSpc>
              <a:spcBef>
                <a:spcPts val="200"/>
              </a:spcBef>
              <a:spcAft>
                <a:spcPts val="0"/>
              </a:spcAft>
              <a:defRPr sz="1000" kern="1200">
                <a:solidFill>
                  <a:schemeClr val="bg2"/>
                </a:solidFill>
                <a:latin typeface="+mn-lt"/>
                <a:ea typeface="ＭＳ Ｐゴシック" pitchFamily="-109" charset="-128"/>
              </a:defRPr>
            </a:lvl2pPr>
            <a:lvl3pPr marL="9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3pPr>
            <a:lvl4pPr marL="18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4pPr>
            <a:lvl5pPr marL="0" indent="0" algn="l" rtl="0" eaLnBrk="1" fontAlgn="base" hangingPunct="1">
              <a:lnSpc>
                <a:spcPct val="106000"/>
              </a:lnSpc>
              <a:spcBef>
                <a:spcPts val="1200"/>
              </a:spcBef>
              <a:spcAft>
                <a:spcPts val="0"/>
              </a:spcAft>
              <a:buFont typeface="Arial" panose="020B0604020202020204" pitchFamily="34" charset="0"/>
              <a:buNone/>
              <a:defRPr sz="12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pPr defTabSz="914400"/>
            <a:r>
              <a:rPr lang="de-DE" b="0" dirty="0">
                <a:latin typeface="DWS Sans Light" panose="02010404010101010104" pitchFamily="50" charset="0"/>
                <a:cs typeface="DWS Sans Light" panose="02010404010101010104" pitchFamily="50" charset="0"/>
              </a:rPr>
              <a:t>Oro: </a:t>
            </a:r>
            <a:r>
              <a:rPr lang="it-IT" b="0" dirty="0">
                <a:solidFill>
                  <a:schemeClr val="bg2"/>
                </a:solidFill>
                <a:latin typeface="DWS Sans Light" panose="02010404010101010104" pitchFamily="50" charset="0"/>
                <a:cs typeface="DWS Sans Light" panose="02010404010101010104" pitchFamily="50" charset="0"/>
              </a:rPr>
              <a:t>La domanda probabilmente rimarrà forte, ma il </a:t>
            </a:r>
            <a:r>
              <a:rPr lang="it-IT" b="0" i="1" dirty="0" err="1">
                <a:solidFill>
                  <a:schemeClr val="bg2"/>
                </a:solidFill>
                <a:latin typeface="DWS Sans Light" panose="02010404010101010104" pitchFamily="50" charset="0"/>
                <a:cs typeface="DWS Sans Light" panose="02010404010101010104" pitchFamily="50" charset="0"/>
              </a:rPr>
              <a:t>momentum</a:t>
            </a:r>
            <a:r>
              <a:rPr lang="it-IT" b="0" dirty="0">
                <a:solidFill>
                  <a:schemeClr val="bg2"/>
                </a:solidFill>
                <a:latin typeface="DWS Sans Light" panose="02010404010101010104" pitchFamily="50" charset="0"/>
                <a:cs typeface="DWS Sans Light" panose="02010404010101010104" pitchFamily="50" charset="0"/>
              </a:rPr>
              <a:t> dei prezzi dovrebbe attenuarsi</a:t>
            </a:r>
          </a:p>
          <a:p>
            <a:pPr defTabSz="914400"/>
            <a:endParaRPr lang="de-DE" sz="950" dirty="0">
              <a:solidFill>
                <a:schemeClr val="bg2"/>
              </a:solidFill>
              <a:latin typeface="DWS Sans Light" panose="02010404010101010104" pitchFamily="50" charset="0"/>
            </a:endParaRPr>
          </a:p>
        </p:txBody>
      </p:sp>
      <p:sp>
        <p:nvSpPr>
          <p:cNvPr id="562" name="Textplatzhalter 48">
            <a:extLst>
              <a:ext uri="{FF2B5EF4-FFF2-40B4-BE49-F238E27FC236}">
                <a16:creationId xmlns:a16="http://schemas.microsoft.com/office/drawing/2014/main" id="{306CA884-C4DD-CA38-62F0-ADA6C68C87DB}"/>
              </a:ext>
            </a:extLst>
          </p:cNvPr>
          <p:cNvSpPr txBox="1">
            <a:spLocks/>
          </p:cNvSpPr>
          <p:nvPr/>
        </p:nvSpPr>
        <p:spPr bwMode="gray">
          <a:xfrm>
            <a:off x="1433072" y="9419979"/>
            <a:ext cx="5502774" cy="572786"/>
          </a:xfrm>
          <a:prstGeom prst="rect">
            <a:avLst/>
          </a:prstGeom>
        </p:spPr>
        <p:txBody>
          <a:bodyPr vert="horz" wrap="square" lIns="0" tIns="0" rIns="0" bIns="0" rtlCol="0">
            <a:spAutoFit/>
          </a:bodyPr>
          <a:lstStyle>
            <a:lvl1pPr algn="l" rtl="0" eaLnBrk="1" fontAlgn="base" hangingPunct="1">
              <a:lnSpc>
                <a:spcPct val="106000"/>
              </a:lnSpc>
              <a:spcBef>
                <a:spcPts val="800"/>
              </a:spcBef>
              <a:spcAft>
                <a:spcPts val="0"/>
              </a:spcAft>
              <a:defRPr sz="1000" b="1" kern="1200">
                <a:solidFill>
                  <a:schemeClr val="accent2"/>
                </a:solidFill>
                <a:latin typeface="+mn-lt"/>
                <a:ea typeface="ＭＳ Ｐゴシック" pitchFamily="-109" charset="-128"/>
                <a:cs typeface="ＭＳ Ｐゴシック" pitchFamily="-109" charset="-128"/>
              </a:defRPr>
            </a:lvl1pPr>
            <a:lvl2pPr marL="0" marR="0" indent="0" algn="l" defTabSz="914400" rtl="0" eaLnBrk="1" fontAlgn="base" latinLnBrk="0" hangingPunct="1">
              <a:lnSpc>
                <a:spcPct val="106000"/>
              </a:lnSpc>
              <a:spcBef>
                <a:spcPts val="200"/>
              </a:spcBef>
              <a:spcAft>
                <a:spcPts val="0"/>
              </a:spcAft>
              <a:buClrTx/>
              <a:buSzTx/>
              <a:buFontTx/>
              <a:buNone/>
              <a:tabLst/>
              <a:defRPr sz="900" kern="1200">
                <a:solidFill>
                  <a:schemeClr val="bg2"/>
                </a:solidFill>
                <a:latin typeface="+mn-lt"/>
                <a:ea typeface="ＭＳ Ｐゴシック" pitchFamily="-109" charset="-128"/>
              </a:defRPr>
            </a:lvl2pPr>
            <a:lvl3pPr marL="9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3pPr>
            <a:lvl4pPr marL="18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4pPr>
            <a:lvl5pPr marL="0" indent="0" algn="l" rtl="0" eaLnBrk="1" fontAlgn="base" hangingPunct="1">
              <a:lnSpc>
                <a:spcPct val="106000"/>
              </a:lnSpc>
              <a:spcBef>
                <a:spcPts val="1200"/>
              </a:spcBef>
              <a:spcAft>
                <a:spcPts val="0"/>
              </a:spcAft>
              <a:buFont typeface="Arial" panose="020B0604020202020204" pitchFamily="34" charset="0"/>
              <a:buNone/>
              <a:defRPr sz="12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r>
              <a:rPr lang="it-IT" sz="900" b="0" dirty="0">
                <a:solidFill>
                  <a:schemeClr val="bg2"/>
                </a:solidFill>
                <a:latin typeface="DWS Sans Light" panose="02010404010101010104" pitchFamily="50" charset="0"/>
                <a:cs typeface="DWS Sans Light" panose="02010404010101010104" pitchFamily="50" charset="0"/>
              </a:rPr>
              <a:t>- A nostro avviso, il rally dell’oro all’inizio dell’anno non era supportato dai fondamentali. Il temporaneo e brusco calo dei prezzi alla fine di gennaio è stato un segnale di avvertimento.</a:t>
            </a:r>
            <a:br>
              <a:rPr lang="it-IT" sz="900" b="0" dirty="0">
                <a:solidFill>
                  <a:schemeClr val="bg2"/>
                </a:solidFill>
                <a:latin typeface="DWS Sans Light" panose="02010404010101010104" pitchFamily="50" charset="0"/>
                <a:cs typeface="DWS Sans Light" panose="02010404010101010104" pitchFamily="50" charset="0"/>
              </a:rPr>
            </a:br>
            <a:r>
              <a:rPr lang="it-IT" sz="900" b="0" dirty="0">
                <a:solidFill>
                  <a:schemeClr val="bg2"/>
                </a:solidFill>
                <a:latin typeface="DWS Sans Light" panose="02010404010101010104" pitchFamily="50" charset="0"/>
                <a:cs typeface="DWS Sans Light" panose="02010404010101010104" pitchFamily="50" charset="0"/>
              </a:rPr>
              <a:t>– Riteniamo che il rischio di battute d’arresto non sia ancora stato eliminato, sebbene siamo più ottimisti sull’oro che sull’argento.</a:t>
            </a:r>
          </a:p>
        </p:txBody>
      </p:sp>
      <p:sp>
        <p:nvSpPr>
          <p:cNvPr id="563" name="Textplatzhalter 48">
            <a:extLst>
              <a:ext uri="{FF2B5EF4-FFF2-40B4-BE49-F238E27FC236}">
                <a16:creationId xmlns:a16="http://schemas.microsoft.com/office/drawing/2014/main" id="{833D358E-F759-1FE1-03A0-AB87BFFE6871}"/>
              </a:ext>
            </a:extLst>
          </p:cNvPr>
          <p:cNvSpPr txBox="1">
            <a:spLocks/>
          </p:cNvSpPr>
          <p:nvPr/>
        </p:nvSpPr>
        <p:spPr bwMode="gray">
          <a:xfrm>
            <a:off x="1553412" y="8185239"/>
            <a:ext cx="5508625" cy="719621"/>
          </a:xfrm>
          <a:prstGeom prst="rect">
            <a:avLst/>
          </a:prstGeom>
        </p:spPr>
        <p:txBody>
          <a:bodyPr vert="horz" wrap="square" lIns="0" tIns="0" rIns="0" bIns="0" rtlCol="0">
            <a:spAutoFit/>
          </a:bodyPr>
          <a:lstStyle>
            <a:lvl1pPr algn="l" rtl="0" eaLnBrk="1" fontAlgn="base" hangingPunct="1">
              <a:lnSpc>
                <a:spcPct val="106000"/>
              </a:lnSpc>
              <a:spcBef>
                <a:spcPts val="800"/>
              </a:spcBef>
              <a:spcAft>
                <a:spcPts val="0"/>
              </a:spcAft>
              <a:defRPr sz="1000" b="1" kern="1200">
                <a:solidFill>
                  <a:schemeClr val="accent2"/>
                </a:solidFill>
                <a:latin typeface="+mn-lt"/>
                <a:ea typeface="ＭＳ Ｐゴシック" pitchFamily="-109" charset="-128"/>
                <a:cs typeface="ＭＳ Ｐゴシック" pitchFamily="-109" charset="-128"/>
              </a:defRPr>
            </a:lvl1pPr>
            <a:lvl2pPr marL="0" marR="0" indent="0" algn="l" defTabSz="914400" rtl="0" eaLnBrk="1" fontAlgn="base" latinLnBrk="0" hangingPunct="1">
              <a:lnSpc>
                <a:spcPct val="106000"/>
              </a:lnSpc>
              <a:spcBef>
                <a:spcPts val="200"/>
              </a:spcBef>
              <a:spcAft>
                <a:spcPts val="0"/>
              </a:spcAft>
              <a:buClrTx/>
              <a:buSzTx/>
              <a:buFontTx/>
              <a:buNone/>
              <a:tabLst/>
              <a:defRPr sz="900" kern="1200">
                <a:solidFill>
                  <a:schemeClr val="bg2"/>
                </a:solidFill>
                <a:latin typeface="+mn-lt"/>
                <a:ea typeface="ＭＳ Ｐゴシック" pitchFamily="-109" charset="-128"/>
              </a:defRPr>
            </a:lvl2pPr>
            <a:lvl3pPr marL="9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3pPr>
            <a:lvl4pPr marL="18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4pPr>
            <a:lvl5pPr marL="0" indent="0" algn="l" rtl="0" eaLnBrk="1" fontAlgn="base" hangingPunct="1">
              <a:lnSpc>
                <a:spcPct val="106000"/>
              </a:lnSpc>
              <a:spcBef>
                <a:spcPts val="1200"/>
              </a:spcBef>
              <a:spcAft>
                <a:spcPts val="0"/>
              </a:spcAft>
              <a:buFont typeface="Arial" panose="020B0604020202020204" pitchFamily="34" charset="0"/>
              <a:buNone/>
              <a:defRPr sz="12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r>
              <a:rPr lang="it-IT" sz="900" b="0">
                <a:solidFill>
                  <a:schemeClr val="bg2"/>
                </a:solidFill>
                <a:latin typeface="DWS Sans Light" panose="02010404010101010104" pitchFamily="50" charset="0"/>
                <a:cs typeface="DWS Sans Light" panose="02010404010101010104" pitchFamily="50" charset="0"/>
              </a:rPr>
              <a:t>-Alla </a:t>
            </a:r>
            <a:r>
              <a:rPr lang="it-IT" sz="900" b="0" dirty="0">
                <a:solidFill>
                  <a:schemeClr val="bg2"/>
                </a:solidFill>
                <a:latin typeface="DWS Sans Light" panose="02010404010101010104" pitchFamily="50" charset="0"/>
                <a:cs typeface="DWS Sans Light" panose="02010404010101010104" pitchFamily="50" charset="0"/>
              </a:rPr>
              <a:t>fine di gennaio, siamo passati a una posizione </a:t>
            </a:r>
            <a:r>
              <a:rPr lang="it-IT" sz="900" b="0" i="1" dirty="0" err="1">
                <a:solidFill>
                  <a:schemeClr val="bg2"/>
                </a:solidFill>
                <a:latin typeface="DWS Sans Light" panose="02010404010101010104" pitchFamily="50" charset="0"/>
                <a:cs typeface="DWS Sans Light" panose="02010404010101010104" pitchFamily="50" charset="0"/>
              </a:rPr>
              <a:t>overweight</a:t>
            </a:r>
            <a:r>
              <a:rPr lang="it-IT" sz="900" b="0" dirty="0">
                <a:solidFill>
                  <a:schemeClr val="bg2"/>
                </a:solidFill>
                <a:latin typeface="DWS Sans Light" panose="02010404010101010104" pitchFamily="50" charset="0"/>
                <a:cs typeface="DWS Sans Light" panose="02010404010101010104" pitchFamily="50" charset="0"/>
              </a:rPr>
              <a:t> sull’euro rispetto al dollaro statunitense, in parte a causa della disputa sulla Groenlandia. Questo ha spinto gli investitori europei a rivalutare la loro asset </a:t>
            </a:r>
            <a:r>
              <a:rPr lang="it-IT" sz="900" b="0" dirty="0" err="1">
                <a:solidFill>
                  <a:schemeClr val="bg2"/>
                </a:solidFill>
                <a:latin typeface="DWS Sans Light" panose="02010404010101010104" pitchFamily="50" charset="0"/>
                <a:cs typeface="DWS Sans Light" panose="02010404010101010104" pitchFamily="50" charset="0"/>
              </a:rPr>
              <a:t>allocation</a:t>
            </a:r>
            <a:r>
              <a:rPr lang="it-IT" sz="900" b="0" dirty="0">
                <a:solidFill>
                  <a:schemeClr val="bg2"/>
                </a:solidFill>
                <a:latin typeface="DWS Sans Light" panose="02010404010101010104" pitchFamily="50" charset="0"/>
                <a:cs typeface="DWS Sans Light" panose="02010404010101010104" pitchFamily="50" charset="0"/>
              </a:rPr>
              <a:t> globale e la loro esposizione al dollaro e agli Stati Uniti.</a:t>
            </a:r>
            <a:br>
              <a:rPr lang="it-IT" sz="900" b="0" dirty="0">
                <a:solidFill>
                  <a:schemeClr val="bg2"/>
                </a:solidFill>
                <a:latin typeface="DWS Sans Light" panose="02010404010101010104" pitchFamily="50" charset="0"/>
                <a:cs typeface="DWS Sans Light" panose="02010404010101010104" pitchFamily="50" charset="0"/>
              </a:rPr>
            </a:br>
            <a:r>
              <a:rPr lang="it-IT" sz="900" b="0" dirty="0">
                <a:solidFill>
                  <a:schemeClr val="bg2"/>
                </a:solidFill>
                <a:latin typeface="DWS Sans Light" panose="02010404010101010104" pitchFamily="50" charset="0"/>
                <a:cs typeface="DWS Sans Light" panose="02010404010101010104" pitchFamily="50" charset="0"/>
              </a:rPr>
              <a:t>– La minaccia del Presidente Trump di penalizzare gli investitori europei che vendono asset statunitensi ha ulteriormente intensificato il movimento “</a:t>
            </a:r>
            <a:r>
              <a:rPr lang="it-IT" sz="900" b="0" i="1" dirty="0">
                <a:solidFill>
                  <a:schemeClr val="bg2"/>
                </a:solidFill>
                <a:latin typeface="DWS Sans Light" panose="02010404010101010104" pitchFamily="50" charset="0"/>
                <a:cs typeface="DWS Sans Light" panose="02010404010101010104" pitchFamily="50" charset="0"/>
              </a:rPr>
              <a:t>Sell America</a:t>
            </a:r>
            <a:r>
              <a:rPr lang="it-IT" sz="900" b="0" dirty="0">
                <a:solidFill>
                  <a:schemeClr val="bg2"/>
                </a:solidFill>
                <a:latin typeface="DWS Sans Light" panose="02010404010101010104" pitchFamily="50" charset="0"/>
                <a:cs typeface="DWS Sans Light" panose="02010404010101010104" pitchFamily="50" charset="0"/>
              </a:rPr>
              <a:t>”.</a:t>
            </a:r>
          </a:p>
        </p:txBody>
      </p:sp>
      <p:grpSp>
        <p:nvGrpSpPr>
          <p:cNvPr id="630" name="Gruppieren 629">
            <a:extLst>
              <a:ext uri="{FF2B5EF4-FFF2-40B4-BE49-F238E27FC236}">
                <a16:creationId xmlns:a16="http://schemas.microsoft.com/office/drawing/2014/main" id="{D51FFA4B-09F5-2103-5002-7148A4DAA4F7}"/>
              </a:ext>
            </a:extLst>
          </p:cNvPr>
          <p:cNvGrpSpPr/>
          <p:nvPr/>
        </p:nvGrpSpPr>
        <p:grpSpPr>
          <a:xfrm>
            <a:off x="5044515" y="6071487"/>
            <a:ext cx="770595" cy="852988"/>
            <a:chOff x="503727" y="2949577"/>
            <a:chExt cx="770595" cy="852988"/>
          </a:xfrm>
        </p:grpSpPr>
        <p:grpSp>
          <p:nvGrpSpPr>
            <p:cNvPr id="631" name="Group 52">
              <a:extLst>
                <a:ext uri="{FF2B5EF4-FFF2-40B4-BE49-F238E27FC236}">
                  <a16:creationId xmlns:a16="http://schemas.microsoft.com/office/drawing/2014/main" id="{A7B328AD-7ABA-D144-7FEF-1E77FAA46552}"/>
                </a:ext>
              </a:extLst>
            </p:cNvPr>
            <p:cNvGrpSpPr/>
            <p:nvPr/>
          </p:nvGrpSpPr>
          <p:grpSpPr>
            <a:xfrm>
              <a:off x="527449" y="2949577"/>
              <a:ext cx="705553" cy="449197"/>
              <a:chOff x="1303650" y="1425917"/>
              <a:chExt cx="1053688" cy="670771"/>
            </a:xfrm>
          </p:grpSpPr>
          <p:sp>
            <p:nvSpPr>
              <p:cNvPr id="637" name="Rechteck 273">
                <a:extLst>
                  <a:ext uri="{FF2B5EF4-FFF2-40B4-BE49-F238E27FC236}">
                    <a16:creationId xmlns:a16="http://schemas.microsoft.com/office/drawing/2014/main" id="{35CC060E-E32A-B5DB-DB25-F289339478AA}"/>
                  </a:ext>
                </a:extLst>
              </p:cNvPr>
              <p:cNvSpPr/>
              <p:nvPr/>
            </p:nvSpPr>
            <p:spPr>
              <a:xfrm>
                <a:off x="1303650" y="1966472"/>
                <a:ext cx="1053688" cy="1302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bg1"/>
                  </a:buClr>
                </a:pPr>
                <a:r>
                  <a:rPr lang="en-GB" sz="700" dirty="0">
                    <a:solidFill>
                      <a:schemeClr val="bg2"/>
                    </a:solidFill>
                    <a:latin typeface="DWS Sans Light" panose="02010404010101010104" pitchFamily="50" charset="0"/>
                    <a:cs typeface="DWS Sans Light" panose="02010404010101010104" pitchFamily="50" charset="0"/>
                  </a:rPr>
                  <a:t>breve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p:txBody>
          </p:sp>
          <p:grpSp>
            <p:nvGrpSpPr>
              <p:cNvPr id="638" name="Gruppieren 364">
                <a:extLst>
                  <a:ext uri="{FF2B5EF4-FFF2-40B4-BE49-F238E27FC236}">
                    <a16:creationId xmlns:a16="http://schemas.microsoft.com/office/drawing/2014/main" id="{A1DB9D4B-04B8-6C13-0540-C039DF34FFB3}"/>
                  </a:ext>
                </a:extLst>
              </p:cNvPr>
              <p:cNvGrpSpPr/>
              <p:nvPr/>
            </p:nvGrpSpPr>
            <p:grpSpPr>
              <a:xfrm>
                <a:off x="1787544" y="1645811"/>
                <a:ext cx="84660" cy="367354"/>
                <a:chOff x="1662113" y="1735139"/>
                <a:chExt cx="192088" cy="833505"/>
              </a:xfrm>
            </p:grpSpPr>
            <p:grpSp>
              <p:nvGrpSpPr>
                <p:cNvPr id="261" name="Gruppieren 365">
                  <a:extLst>
                    <a:ext uri="{FF2B5EF4-FFF2-40B4-BE49-F238E27FC236}">
                      <a16:creationId xmlns:a16="http://schemas.microsoft.com/office/drawing/2014/main" id="{2ED2490C-6A87-0A25-6300-768E98D15DD3}"/>
                    </a:ext>
                  </a:extLst>
                </p:cNvPr>
                <p:cNvGrpSpPr/>
                <p:nvPr/>
              </p:nvGrpSpPr>
              <p:grpSpPr>
                <a:xfrm>
                  <a:off x="1662113" y="1735139"/>
                  <a:ext cx="192088" cy="506413"/>
                  <a:chOff x="1662113" y="1735139"/>
                  <a:chExt cx="192088" cy="506413"/>
                </a:xfrm>
              </p:grpSpPr>
              <p:sp>
                <p:nvSpPr>
                  <p:cNvPr id="268" name="Freeform 10">
                    <a:extLst>
                      <a:ext uri="{FF2B5EF4-FFF2-40B4-BE49-F238E27FC236}">
                        <a16:creationId xmlns:a16="http://schemas.microsoft.com/office/drawing/2014/main" id="{D3EDD942-FDE1-B241-A6F1-B3A27D597E65}"/>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solidFill>
                    <a:srgbClr val="B7C5C8"/>
                  </a:solid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269" name="Freeform 12">
                    <a:extLst>
                      <a:ext uri="{FF2B5EF4-FFF2-40B4-BE49-F238E27FC236}">
                        <a16:creationId xmlns:a16="http://schemas.microsoft.com/office/drawing/2014/main" id="{C69EA0B1-B4E1-3319-0248-CEEBA60185E7}"/>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270" name="Oval 13">
                    <a:extLst>
                      <a:ext uri="{FF2B5EF4-FFF2-40B4-BE49-F238E27FC236}">
                        <a16:creationId xmlns:a16="http://schemas.microsoft.com/office/drawing/2014/main" id="{8891FC8B-F9A9-5532-2AE5-D3A145B3F2D8}"/>
                      </a:ext>
                    </a:extLst>
                  </p:cNvPr>
                  <p:cNvSpPr>
                    <a:spLocks noChangeArrowheads="1"/>
                  </p:cNvSpPr>
                  <p:nvPr/>
                </p:nvSpPr>
                <p:spPr bwMode="auto">
                  <a:xfrm>
                    <a:off x="1730375" y="2120902"/>
                    <a:ext cx="60325" cy="603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271" name="Freeform 11">
                    <a:extLst>
                      <a:ext uri="{FF2B5EF4-FFF2-40B4-BE49-F238E27FC236}">
                        <a16:creationId xmlns:a16="http://schemas.microsoft.com/office/drawing/2014/main" id="{226CE01E-CC8D-2627-C509-73FC9088EB4D}"/>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grpSp>
            <p:grpSp>
              <p:nvGrpSpPr>
                <p:cNvPr id="263" name="Gruppieren 366">
                  <a:extLst>
                    <a:ext uri="{FF2B5EF4-FFF2-40B4-BE49-F238E27FC236}">
                      <a16:creationId xmlns:a16="http://schemas.microsoft.com/office/drawing/2014/main" id="{5F3E63E0-6E99-6A95-DE62-52ADC27660CD}"/>
                    </a:ext>
                  </a:extLst>
                </p:cNvPr>
                <p:cNvGrpSpPr/>
                <p:nvPr/>
              </p:nvGrpSpPr>
              <p:grpSpPr>
                <a:xfrm flipV="1">
                  <a:off x="1662113" y="2062231"/>
                  <a:ext cx="192088" cy="506413"/>
                  <a:chOff x="1662113" y="1735139"/>
                  <a:chExt cx="192088" cy="506413"/>
                </a:xfrm>
                <a:noFill/>
              </p:grpSpPr>
              <p:sp>
                <p:nvSpPr>
                  <p:cNvPr id="264" name="Freeform 10">
                    <a:extLst>
                      <a:ext uri="{FF2B5EF4-FFF2-40B4-BE49-F238E27FC236}">
                        <a16:creationId xmlns:a16="http://schemas.microsoft.com/office/drawing/2014/main" id="{C30748C5-1677-26AB-8DFE-9655868F86CC}"/>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grp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265" name="Freeform 11">
                    <a:extLst>
                      <a:ext uri="{FF2B5EF4-FFF2-40B4-BE49-F238E27FC236}">
                        <a16:creationId xmlns:a16="http://schemas.microsoft.com/office/drawing/2014/main" id="{86BF0F98-16D7-DD76-A5F4-0A4BBFA8F5AA}"/>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grp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266" name="Freeform 12">
                    <a:extLst>
                      <a:ext uri="{FF2B5EF4-FFF2-40B4-BE49-F238E27FC236}">
                        <a16:creationId xmlns:a16="http://schemas.microsoft.com/office/drawing/2014/main" id="{AD4C40B6-60A8-79DE-1C2D-E09D551A680C}"/>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267" name="Oval 13">
                    <a:extLst>
                      <a:ext uri="{FF2B5EF4-FFF2-40B4-BE49-F238E27FC236}">
                        <a16:creationId xmlns:a16="http://schemas.microsoft.com/office/drawing/2014/main" id="{81F37BB9-0CA5-CBC0-112E-B0F9750EA31F}"/>
                      </a:ext>
                    </a:extLst>
                  </p:cNvPr>
                  <p:cNvSpPr>
                    <a:spLocks noChangeArrowheads="1"/>
                  </p:cNvSpPr>
                  <p:nvPr/>
                </p:nvSpPr>
                <p:spPr bwMode="auto">
                  <a:xfrm>
                    <a:off x="1730375" y="2120902"/>
                    <a:ext cx="60325" cy="60325"/>
                  </a:xfrm>
                  <a:prstGeom prst="ellipse">
                    <a:avLst/>
                  </a:prstGeom>
                  <a:grp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grpSp>
          </p:grpSp>
          <p:grpSp>
            <p:nvGrpSpPr>
              <p:cNvPr id="639" name="Gruppieren 375">
                <a:extLst>
                  <a:ext uri="{FF2B5EF4-FFF2-40B4-BE49-F238E27FC236}">
                    <a16:creationId xmlns:a16="http://schemas.microsoft.com/office/drawing/2014/main" id="{5A363BA5-F5A8-9ECD-3E77-C004C8E21DB8}"/>
                  </a:ext>
                </a:extLst>
              </p:cNvPr>
              <p:cNvGrpSpPr/>
              <p:nvPr/>
            </p:nvGrpSpPr>
            <p:grpSpPr>
              <a:xfrm>
                <a:off x="1430336" y="1425917"/>
                <a:ext cx="817200" cy="412452"/>
                <a:chOff x="1430336" y="1425917"/>
                <a:chExt cx="817200" cy="412452"/>
              </a:xfrm>
            </p:grpSpPr>
            <p:sp>
              <p:nvSpPr>
                <p:cNvPr id="257" name="Freeform 11">
                  <a:extLst>
                    <a:ext uri="{FF2B5EF4-FFF2-40B4-BE49-F238E27FC236}">
                      <a16:creationId xmlns:a16="http://schemas.microsoft.com/office/drawing/2014/main" id="{A9502507-FCA9-7D8A-7299-F7350EEDF066}"/>
                    </a:ext>
                  </a:extLst>
                </p:cNvPr>
                <p:cNvSpPr>
                  <a:spLocks/>
                </p:cNvSpPr>
                <p:nvPr/>
              </p:nvSpPr>
              <p:spPr bwMode="auto">
                <a:xfrm>
                  <a:off x="1430336" y="1487276"/>
                  <a:ext cx="246261" cy="351093"/>
                </a:xfrm>
                <a:custGeom>
                  <a:avLst/>
                  <a:gdLst>
                    <a:gd name="T0" fmla="*/ 160 w 378"/>
                    <a:gd name="T1" fmla="*/ 534 h 534"/>
                    <a:gd name="T2" fmla="*/ 378 w 378"/>
                    <a:gd name="T3" fmla="*/ 139 h 534"/>
                    <a:gd name="T4" fmla="*/ 298 w 378"/>
                    <a:gd name="T5" fmla="*/ 0 h 534"/>
                    <a:gd name="T6" fmla="*/ 0 w 378"/>
                    <a:gd name="T7" fmla="*/ 534 h 534"/>
                    <a:gd name="T8" fmla="*/ 160 w 378"/>
                    <a:gd name="T9" fmla="*/ 534 h 534"/>
                  </a:gdLst>
                  <a:ahLst/>
                  <a:cxnLst>
                    <a:cxn ang="0">
                      <a:pos x="T0" y="T1"/>
                    </a:cxn>
                    <a:cxn ang="0">
                      <a:pos x="T2" y="T3"/>
                    </a:cxn>
                    <a:cxn ang="0">
                      <a:pos x="T4" y="T5"/>
                    </a:cxn>
                    <a:cxn ang="0">
                      <a:pos x="T6" y="T7"/>
                    </a:cxn>
                    <a:cxn ang="0">
                      <a:pos x="T8" y="T9"/>
                    </a:cxn>
                  </a:cxnLst>
                  <a:rect l="0" t="0" r="r" b="b"/>
                  <a:pathLst>
                    <a:path w="378" h="534">
                      <a:moveTo>
                        <a:pt x="160" y="534"/>
                      </a:moveTo>
                      <a:cubicBezTo>
                        <a:pt x="160" y="367"/>
                        <a:pt x="247" y="221"/>
                        <a:pt x="378" y="139"/>
                      </a:cubicBezTo>
                      <a:cubicBezTo>
                        <a:pt x="298" y="0"/>
                        <a:pt x="298" y="0"/>
                        <a:pt x="298" y="0"/>
                      </a:cubicBezTo>
                      <a:cubicBezTo>
                        <a:pt x="119" y="111"/>
                        <a:pt x="0" y="308"/>
                        <a:pt x="0" y="534"/>
                      </a:cubicBezTo>
                      <a:lnTo>
                        <a:pt x="160" y="534"/>
                      </a:ln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258" name="Freeform 12">
                  <a:extLst>
                    <a:ext uri="{FF2B5EF4-FFF2-40B4-BE49-F238E27FC236}">
                      <a16:creationId xmlns:a16="http://schemas.microsoft.com/office/drawing/2014/main" id="{F891D008-7928-8C43-4AF2-6704B6B6FEC5}"/>
                    </a:ext>
                  </a:extLst>
                </p:cNvPr>
                <p:cNvSpPr>
                  <a:spLocks/>
                </p:cNvSpPr>
                <p:nvPr/>
              </p:nvSpPr>
              <p:spPr bwMode="auto">
                <a:xfrm>
                  <a:off x="1644679" y="1425917"/>
                  <a:ext cx="388514" cy="140878"/>
                </a:xfrm>
                <a:custGeom>
                  <a:avLst/>
                  <a:gdLst>
                    <a:gd name="T0" fmla="*/ 80 w 596"/>
                    <a:gd name="T1" fmla="*/ 214 h 214"/>
                    <a:gd name="T2" fmla="*/ 298 w 596"/>
                    <a:gd name="T3" fmla="*/ 160 h 214"/>
                    <a:gd name="T4" fmla="*/ 516 w 596"/>
                    <a:gd name="T5" fmla="*/ 214 h 214"/>
                    <a:gd name="T6" fmla="*/ 596 w 596"/>
                    <a:gd name="T7" fmla="*/ 75 h 214"/>
                    <a:gd name="T8" fmla="*/ 298 w 596"/>
                    <a:gd name="T9" fmla="*/ 0 h 214"/>
                    <a:gd name="T10" fmla="*/ 0 w 596"/>
                    <a:gd name="T11" fmla="*/ 75 h 214"/>
                    <a:gd name="T12" fmla="*/ 80 w 596"/>
                    <a:gd name="T13" fmla="*/ 214 h 214"/>
                  </a:gdLst>
                  <a:ahLst/>
                  <a:cxnLst>
                    <a:cxn ang="0">
                      <a:pos x="T0" y="T1"/>
                    </a:cxn>
                    <a:cxn ang="0">
                      <a:pos x="T2" y="T3"/>
                    </a:cxn>
                    <a:cxn ang="0">
                      <a:pos x="T4" y="T5"/>
                    </a:cxn>
                    <a:cxn ang="0">
                      <a:pos x="T6" y="T7"/>
                    </a:cxn>
                    <a:cxn ang="0">
                      <a:pos x="T8" y="T9"/>
                    </a:cxn>
                    <a:cxn ang="0">
                      <a:pos x="T10" y="T11"/>
                    </a:cxn>
                    <a:cxn ang="0">
                      <a:pos x="T12" y="T13"/>
                    </a:cxn>
                  </a:cxnLst>
                  <a:rect l="0" t="0" r="r" b="b"/>
                  <a:pathLst>
                    <a:path w="596" h="214">
                      <a:moveTo>
                        <a:pt x="80" y="214"/>
                      </a:moveTo>
                      <a:cubicBezTo>
                        <a:pt x="145" y="179"/>
                        <a:pt x="219" y="160"/>
                        <a:pt x="298" y="160"/>
                      </a:cubicBezTo>
                      <a:cubicBezTo>
                        <a:pt x="377" y="160"/>
                        <a:pt x="451" y="179"/>
                        <a:pt x="516" y="214"/>
                      </a:cubicBezTo>
                      <a:cubicBezTo>
                        <a:pt x="596" y="75"/>
                        <a:pt x="596" y="75"/>
                        <a:pt x="596" y="75"/>
                      </a:cubicBezTo>
                      <a:cubicBezTo>
                        <a:pt x="507" y="27"/>
                        <a:pt x="406" y="0"/>
                        <a:pt x="298" y="0"/>
                      </a:cubicBezTo>
                      <a:cubicBezTo>
                        <a:pt x="190" y="0"/>
                        <a:pt x="89" y="27"/>
                        <a:pt x="0" y="75"/>
                      </a:cubicBezTo>
                      <a:lnTo>
                        <a:pt x="80" y="214"/>
                      </a:lnTo>
                      <a:close/>
                    </a:path>
                  </a:pathLst>
                </a:custGeom>
                <a:solidFill>
                  <a:srgbClr val="E8C64D"/>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259" name="Freeform 13">
                  <a:extLst>
                    <a:ext uri="{FF2B5EF4-FFF2-40B4-BE49-F238E27FC236}">
                      <a16:creationId xmlns:a16="http://schemas.microsoft.com/office/drawing/2014/main" id="{5324CBD4-E3BE-8EB1-431B-94A97131EF3A}"/>
                    </a:ext>
                  </a:extLst>
                </p:cNvPr>
                <p:cNvSpPr>
                  <a:spLocks/>
                </p:cNvSpPr>
                <p:nvPr/>
              </p:nvSpPr>
              <p:spPr bwMode="auto">
                <a:xfrm>
                  <a:off x="2001275" y="1487276"/>
                  <a:ext cx="246261" cy="351093"/>
                </a:xfrm>
                <a:custGeom>
                  <a:avLst/>
                  <a:gdLst>
                    <a:gd name="T0" fmla="*/ 80 w 378"/>
                    <a:gd name="T1" fmla="*/ 0 h 534"/>
                    <a:gd name="T2" fmla="*/ 0 w 378"/>
                    <a:gd name="T3" fmla="*/ 139 h 534"/>
                    <a:gd name="T4" fmla="*/ 218 w 378"/>
                    <a:gd name="T5" fmla="*/ 534 h 534"/>
                    <a:gd name="T6" fmla="*/ 378 w 378"/>
                    <a:gd name="T7" fmla="*/ 534 h 534"/>
                    <a:gd name="T8" fmla="*/ 80 w 378"/>
                    <a:gd name="T9" fmla="*/ 0 h 534"/>
                  </a:gdLst>
                  <a:ahLst/>
                  <a:cxnLst>
                    <a:cxn ang="0">
                      <a:pos x="T0" y="T1"/>
                    </a:cxn>
                    <a:cxn ang="0">
                      <a:pos x="T2" y="T3"/>
                    </a:cxn>
                    <a:cxn ang="0">
                      <a:pos x="T4" y="T5"/>
                    </a:cxn>
                    <a:cxn ang="0">
                      <a:pos x="T6" y="T7"/>
                    </a:cxn>
                    <a:cxn ang="0">
                      <a:pos x="T8" y="T9"/>
                    </a:cxn>
                  </a:cxnLst>
                  <a:rect l="0" t="0" r="r" b="b"/>
                  <a:pathLst>
                    <a:path w="378" h="534">
                      <a:moveTo>
                        <a:pt x="80" y="0"/>
                      </a:moveTo>
                      <a:cubicBezTo>
                        <a:pt x="0" y="139"/>
                        <a:pt x="0" y="139"/>
                        <a:pt x="0" y="139"/>
                      </a:cubicBezTo>
                      <a:cubicBezTo>
                        <a:pt x="131" y="221"/>
                        <a:pt x="218" y="367"/>
                        <a:pt x="218" y="534"/>
                      </a:cubicBezTo>
                      <a:cubicBezTo>
                        <a:pt x="378" y="534"/>
                        <a:pt x="378" y="534"/>
                        <a:pt x="378" y="534"/>
                      </a:cubicBezTo>
                      <a:cubicBezTo>
                        <a:pt x="378" y="308"/>
                        <a:pt x="259" y="111"/>
                        <a:pt x="80" y="0"/>
                      </a:cubicBez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260" name="Freihandform: Form 379">
                  <a:extLst>
                    <a:ext uri="{FF2B5EF4-FFF2-40B4-BE49-F238E27FC236}">
                      <a16:creationId xmlns:a16="http://schemas.microsoft.com/office/drawing/2014/main" id="{DE7F76B2-DEFF-EF23-F7C1-419BDECBC792}"/>
                    </a:ext>
                  </a:extLst>
                </p:cNvPr>
                <p:cNvSpPr>
                  <a:spLocks/>
                </p:cNvSpPr>
                <p:nvPr/>
              </p:nvSpPr>
              <p:spPr bwMode="auto">
                <a:xfrm>
                  <a:off x="1555530" y="1552212"/>
                  <a:ext cx="566812" cy="286157"/>
                </a:xfrm>
                <a:custGeom>
                  <a:avLst/>
                  <a:gdLst>
                    <a:gd name="connsiteX0" fmla="*/ 283406 w 566812"/>
                    <a:gd name="connsiteY0" fmla="*/ 0 h 286157"/>
                    <a:gd name="connsiteX1" fmla="*/ 566812 w 566812"/>
                    <a:gd name="connsiteY1" fmla="*/ 286157 h 286157"/>
                    <a:gd name="connsiteX2" fmla="*/ 506571 w 566812"/>
                    <a:gd name="connsiteY2" fmla="*/ 286157 h 286157"/>
                    <a:gd name="connsiteX3" fmla="*/ 283406 w 566812"/>
                    <a:gd name="connsiteY3" fmla="*/ 60826 h 286157"/>
                    <a:gd name="connsiteX4" fmla="*/ 60241 w 566812"/>
                    <a:gd name="connsiteY4" fmla="*/ 286157 h 286157"/>
                    <a:gd name="connsiteX5" fmla="*/ 0 w 566812"/>
                    <a:gd name="connsiteY5" fmla="*/ 286157 h 286157"/>
                    <a:gd name="connsiteX6" fmla="*/ 283406 w 566812"/>
                    <a:gd name="connsiteY6" fmla="*/ 0 h 28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812" h="286157">
                      <a:moveTo>
                        <a:pt x="283406" y="0"/>
                      </a:moveTo>
                      <a:cubicBezTo>
                        <a:pt x="439768" y="0"/>
                        <a:pt x="566812" y="128277"/>
                        <a:pt x="566812" y="286157"/>
                      </a:cubicBezTo>
                      <a:lnTo>
                        <a:pt x="506571" y="286157"/>
                      </a:lnTo>
                      <a:cubicBezTo>
                        <a:pt x="506571" y="161837"/>
                        <a:pt x="406532" y="60826"/>
                        <a:pt x="283406" y="60826"/>
                      </a:cubicBezTo>
                      <a:cubicBezTo>
                        <a:pt x="160281" y="60826"/>
                        <a:pt x="60241" y="161837"/>
                        <a:pt x="60241" y="286157"/>
                      </a:cubicBezTo>
                      <a:lnTo>
                        <a:pt x="0" y="286157"/>
                      </a:lnTo>
                      <a:cubicBezTo>
                        <a:pt x="0" y="128277"/>
                        <a:pt x="127044" y="0"/>
                        <a:pt x="283406" y="0"/>
                      </a:cubicBez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algn="ctr"/>
                  <a:endParaRPr lang="de-DE" sz="600" dirty="0">
                    <a:solidFill>
                      <a:schemeClr val="bg2"/>
                    </a:solidFill>
                    <a:latin typeface="+mn-lt"/>
                    <a:cs typeface="DWS Sans TT Light" panose="02010404010101010104" pitchFamily="2" charset="0"/>
                  </a:endParaRPr>
                </a:p>
              </p:txBody>
            </p:sp>
          </p:grpSp>
        </p:grpSp>
        <p:grpSp>
          <p:nvGrpSpPr>
            <p:cNvPr id="632" name="Group 3">
              <a:extLst>
                <a:ext uri="{FF2B5EF4-FFF2-40B4-BE49-F238E27FC236}">
                  <a16:creationId xmlns:a16="http://schemas.microsoft.com/office/drawing/2014/main" id="{C183712C-ABD9-FF5C-8D3B-ED3431EE7D4E}"/>
                </a:ext>
              </a:extLst>
            </p:cNvPr>
            <p:cNvGrpSpPr/>
            <p:nvPr/>
          </p:nvGrpSpPr>
          <p:grpSpPr>
            <a:xfrm>
              <a:off x="503727" y="3465842"/>
              <a:ext cx="770595" cy="336723"/>
              <a:chOff x="480877" y="3642063"/>
              <a:chExt cx="932800" cy="418880"/>
            </a:xfrm>
          </p:grpSpPr>
          <p:sp>
            <p:nvSpPr>
              <p:cNvPr id="633" name="Rechteck 273">
                <a:extLst>
                  <a:ext uri="{FF2B5EF4-FFF2-40B4-BE49-F238E27FC236}">
                    <a16:creationId xmlns:a16="http://schemas.microsoft.com/office/drawing/2014/main" id="{F6FDE1CA-B5F2-E5C3-FE9E-32F97FD12596}"/>
                  </a:ext>
                </a:extLst>
              </p:cNvPr>
              <p:cNvSpPr/>
              <p:nvPr/>
            </p:nvSpPr>
            <p:spPr>
              <a:xfrm>
                <a:off x="480877" y="3645792"/>
                <a:ext cx="932800" cy="4151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bg1"/>
                  </a:buClr>
                </a:pPr>
                <a:r>
                  <a:rPr lang="en-GB" sz="700" dirty="0" err="1">
                    <a:solidFill>
                      <a:schemeClr val="bg2"/>
                    </a:solidFill>
                    <a:latin typeface="DWS Sans Light" panose="02010404010101010104" pitchFamily="50" charset="0"/>
                    <a:cs typeface="DWS Sans Light" panose="02010404010101010104" pitchFamily="50" charset="0"/>
                  </a:rPr>
                  <a:t>lungo</a:t>
                </a:r>
                <a:r>
                  <a:rPr lang="en-GB" sz="700" dirty="0">
                    <a:solidFill>
                      <a:schemeClr val="bg2"/>
                    </a:solidFill>
                    <a:latin typeface="DWS Sans Light" panose="02010404010101010104" pitchFamily="50" charset="0"/>
                    <a:cs typeface="DWS Sans Light" panose="02010404010101010104" pitchFamily="50" charset="0"/>
                  </a:rPr>
                  <a:t>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p:txBody>
          </p:sp>
          <p:sp>
            <p:nvSpPr>
              <p:cNvPr id="634" name="Rectangle 2">
                <a:extLst>
                  <a:ext uri="{FF2B5EF4-FFF2-40B4-BE49-F238E27FC236}">
                    <a16:creationId xmlns:a16="http://schemas.microsoft.com/office/drawing/2014/main" id="{C772A9B2-BA5B-D3FD-CD3F-0F2C97FA8C28}"/>
                  </a:ext>
                </a:extLst>
              </p:cNvPr>
              <p:cNvSpPr/>
              <p:nvPr/>
            </p:nvSpPr>
            <p:spPr bwMode="auto">
              <a:xfrm>
                <a:off x="612278" y="3642063"/>
                <a:ext cx="205200" cy="84034"/>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600" dirty="0">
                  <a:latin typeface="+mn-lt"/>
                </a:endParaRPr>
              </a:p>
            </p:txBody>
          </p:sp>
          <p:sp>
            <p:nvSpPr>
              <p:cNvPr id="635" name="Rectangle 215">
                <a:extLst>
                  <a:ext uri="{FF2B5EF4-FFF2-40B4-BE49-F238E27FC236}">
                    <a16:creationId xmlns:a16="http://schemas.microsoft.com/office/drawing/2014/main" id="{EF732D34-8BA1-E626-248F-F3374D34C867}"/>
                  </a:ext>
                </a:extLst>
              </p:cNvPr>
              <p:cNvSpPr/>
              <p:nvPr/>
            </p:nvSpPr>
            <p:spPr bwMode="auto">
              <a:xfrm>
                <a:off x="1069462" y="3642063"/>
                <a:ext cx="205200" cy="84034"/>
              </a:xfrm>
              <a:prstGeom prst="rect">
                <a:avLst/>
              </a:prstGeom>
              <a:solidFill>
                <a:srgbClr val="AFCA0B"/>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600" dirty="0">
                  <a:latin typeface="+mn-lt"/>
                </a:endParaRPr>
              </a:p>
            </p:txBody>
          </p:sp>
          <p:sp>
            <p:nvSpPr>
              <p:cNvPr id="636" name="Rectangle 216">
                <a:extLst>
                  <a:ext uri="{FF2B5EF4-FFF2-40B4-BE49-F238E27FC236}">
                    <a16:creationId xmlns:a16="http://schemas.microsoft.com/office/drawing/2014/main" id="{729E53D7-8EEF-8F44-DEAC-775473C9AD7C}"/>
                  </a:ext>
                </a:extLst>
              </p:cNvPr>
              <p:cNvSpPr/>
              <p:nvPr/>
            </p:nvSpPr>
            <p:spPr bwMode="auto">
              <a:xfrm>
                <a:off x="840870" y="3642063"/>
                <a:ext cx="205200" cy="84034"/>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600" dirty="0">
                  <a:latin typeface="+mn-lt"/>
                </a:endParaRPr>
              </a:p>
            </p:txBody>
          </p:sp>
        </p:grpSp>
      </p:grpSp>
      <p:grpSp>
        <p:nvGrpSpPr>
          <p:cNvPr id="78" name="Gruppieren 77">
            <a:extLst>
              <a:ext uri="{FF2B5EF4-FFF2-40B4-BE49-F238E27FC236}">
                <a16:creationId xmlns:a16="http://schemas.microsoft.com/office/drawing/2014/main" id="{6FE3D704-29FA-BD99-F725-B1FC0B93D118}"/>
              </a:ext>
            </a:extLst>
          </p:cNvPr>
          <p:cNvGrpSpPr/>
          <p:nvPr/>
        </p:nvGrpSpPr>
        <p:grpSpPr>
          <a:xfrm>
            <a:off x="4280921" y="1406687"/>
            <a:ext cx="719414" cy="825842"/>
            <a:chOff x="3757039" y="1804401"/>
            <a:chExt cx="719413" cy="825842"/>
          </a:xfrm>
        </p:grpSpPr>
        <p:grpSp>
          <p:nvGrpSpPr>
            <p:cNvPr id="79" name="Group 56">
              <a:extLst>
                <a:ext uri="{FF2B5EF4-FFF2-40B4-BE49-F238E27FC236}">
                  <a16:creationId xmlns:a16="http://schemas.microsoft.com/office/drawing/2014/main" id="{15ADE97F-75B5-C927-188E-2F624B4D1064}"/>
                </a:ext>
              </a:extLst>
            </p:cNvPr>
            <p:cNvGrpSpPr/>
            <p:nvPr/>
          </p:nvGrpSpPr>
          <p:grpSpPr>
            <a:xfrm>
              <a:off x="3757039" y="1804401"/>
              <a:ext cx="694318" cy="462640"/>
              <a:chOff x="288769" y="1425917"/>
              <a:chExt cx="1036909" cy="695559"/>
            </a:xfrm>
          </p:grpSpPr>
          <p:sp>
            <p:nvSpPr>
              <p:cNvPr id="548" name="Rechteck 272">
                <a:extLst>
                  <a:ext uri="{FF2B5EF4-FFF2-40B4-BE49-F238E27FC236}">
                    <a16:creationId xmlns:a16="http://schemas.microsoft.com/office/drawing/2014/main" id="{B15172EC-AFAC-42B7-EAC1-56434A37C988}"/>
                  </a:ext>
                </a:extLst>
              </p:cNvPr>
              <p:cNvSpPr/>
              <p:nvPr/>
            </p:nvSpPr>
            <p:spPr>
              <a:xfrm>
                <a:off x="288769" y="1912225"/>
                <a:ext cx="1036909" cy="209251"/>
              </a:xfrm>
              <a:prstGeom prst="rect">
                <a:avLst/>
              </a:prstGeom>
              <a:noFill/>
              <a:ln w="25400" cap="flat" cmpd="sng" algn="ctr">
                <a:noFill/>
                <a:prstDash val="solid"/>
              </a:ln>
              <a:effectLst/>
            </p:spPr>
            <p:txBody>
              <a:bodyPr lIns="72000" tIns="72000" rIns="72000" bIns="72000" rtlCol="0" anchor="ctr"/>
              <a:lstStyle/>
              <a:p>
                <a:pPr algn="ctr">
                  <a:spcBef>
                    <a:spcPts val="600"/>
                  </a:spcBef>
                  <a:buClr>
                    <a:schemeClr val="bg1"/>
                  </a:buClr>
                </a:pPr>
                <a:r>
                  <a:rPr lang="en-GB" sz="700" dirty="0">
                    <a:solidFill>
                      <a:schemeClr val="bg2"/>
                    </a:solidFill>
                    <a:latin typeface="DWS Sans Light" panose="02010404010101010104" pitchFamily="50" charset="0"/>
                    <a:cs typeface="DWS Sans Light" panose="02010404010101010104" pitchFamily="50" charset="0"/>
                  </a:rPr>
                  <a:t>breve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p:txBody>
          </p:sp>
          <p:grpSp>
            <p:nvGrpSpPr>
              <p:cNvPr id="574" name="Gruppieren 348">
                <a:extLst>
                  <a:ext uri="{FF2B5EF4-FFF2-40B4-BE49-F238E27FC236}">
                    <a16:creationId xmlns:a16="http://schemas.microsoft.com/office/drawing/2014/main" id="{4E952ACF-9CC0-8E26-B0AD-9CCD2C939F0D}"/>
                  </a:ext>
                </a:extLst>
              </p:cNvPr>
              <p:cNvGrpSpPr/>
              <p:nvPr/>
            </p:nvGrpSpPr>
            <p:grpSpPr>
              <a:xfrm rot="3291935">
                <a:off x="788748" y="1645811"/>
                <a:ext cx="84660" cy="367354"/>
                <a:chOff x="1662113" y="1735139"/>
                <a:chExt cx="192088" cy="833505"/>
              </a:xfrm>
            </p:grpSpPr>
            <p:grpSp>
              <p:nvGrpSpPr>
                <p:cNvPr id="158" name="Gruppieren 349">
                  <a:extLst>
                    <a:ext uri="{FF2B5EF4-FFF2-40B4-BE49-F238E27FC236}">
                      <a16:creationId xmlns:a16="http://schemas.microsoft.com/office/drawing/2014/main" id="{43A33CFE-47A4-9DED-CCB9-FBCA4E8EB7F8}"/>
                    </a:ext>
                  </a:extLst>
                </p:cNvPr>
                <p:cNvGrpSpPr/>
                <p:nvPr/>
              </p:nvGrpSpPr>
              <p:grpSpPr>
                <a:xfrm>
                  <a:off x="1662113" y="1735139"/>
                  <a:ext cx="192088" cy="506413"/>
                  <a:chOff x="1662113" y="1735139"/>
                  <a:chExt cx="192088" cy="506413"/>
                </a:xfrm>
              </p:grpSpPr>
              <p:sp>
                <p:nvSpPr>
                  <p:cNvPr id="168" name="Freeform 10">
                    <a:extLst>
                      <a:ext uri="{FF2B5EF4-FFF2-40B4-BE49-F238E27FC236}">
                        <a16:creationId xmlns:a16="http://schemas.microsoft.com/office/drawing/2014/main" id="{53C16637-9E8D-CFF7-7FAC-0AB76B2F6CDB}"/>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solidFill>
                    <a:srgbClr val="B7C5C8"/>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169" name="Freeform 12">
                    <a:extLst>
                      <a:ext uri="{FF2B5EF4-FFF2-40B4-BE49-F238E27FC236}">
                        <a16:creationId xmlns:a16="http://schemas.microsoft.com/office/drawing/2014/main" id="{49CA62AB-C824-BD77-1681-90C2AB98A8FC}"/>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170" name="Oval 13">
                    <a:extLst>
                      <a:ext uri="{FF2B5EF4-FFF2-40B4-BE49-F238E27FC236}">
                        <a16:creationId xmlns:a16="http://schemas.microsoft.com/office/drawing/2014/main" id="{E2B1DB44-2902-5E6B-2C59-BFD69102FD59}"/>
                      </a:ext>
                    </a:extLst>
                  </p:cNvPr>
                  <p:cNvSpPr>
                    <a:spLocks noChangeArrowheads="1"/>
                  </p:cNvSpPr>
                  <p:nvPr/>
                </p:nvSpPr>
                <p:spPr bwMode="auto">
                  <a:xfrm>
                    <a:off x="1730375" y="2120902"/>
                    <a:ext cx="60325" cy="60325"/>
                  </a:xfrm>
                  <a:prstGeom prst="ellipse">
                    <a:avLst/>
                  </a:prstGeom>
                  <a:solidFill>
                    <a:srgbClr val="6D828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171" name="Freeform 11">
                    <a:extLst>
                      <a:ext uri="{FF2B5EF4-FFF2-40B4-BE49-F238E27FC236}">
                        <a16:creationId xmlns:a16="http://schemas.microsoft.com/office/drawing/2014/main" id="{C3536EAF-2CE6-DBB0-66DF-1AA5C8BFB68B}"/>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solidFill>
                    <a:srgbClr val="6D828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grpSp>
            <p:grpSp>
              <p:nvGrpSpPr>
                <p:cNvPr id="159" name="Gruppieren 350">
                  <a:extLst>
                    <a:ext uri="{FF2B5EF4-FFF2-40B4-BE49-F238E27FC236}">
                      <a16:creationId xmlns:a16="http://schemas.microsoft.com/office/drawing/2014/main" id="{E83D54E7-5078-111F-186B-2F12E7A73926}"/>
                    </a:ext>
                  </a:extLst>
                </p:cNvPr>
                <p:cNvGrpSpPr/>
                <p:nvPr/>
              </p:nvGrpSpPr>
              <p:grpSpPr>
                <a:xfrm flipV="1">
                  <a:off x="1662113" y="2062231"/>
                  <a:ext cx="192088" cy="506413"/>
                  <a:chOff x="1662113" y="1735139"/>
                  <a:chExt cx="192088" cy="506413"/>
                </a:xfrm>
                <a:noFill/>
              </p:grpSpPr>
              <p:sp>
                <p:nvSpPr>
                  <p:cNvPr id="160" name="Freeform 10">
                    <a:extLst>
                      <a:ext uri="{FF2B5EF4-FFF2-40B4-BE49-F238E27FC236}">
                        <a16:creationId xmlns:a16="http://schemas.microsoft.com/office/drawing/2014/main" id="{8E597307-4739-2BAB-32B7-E36E79378FEB}"/>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161" name="Freeform 11">
                    <a:extLst>
                      <a:ext uri="{FF2B5EF4-FFF2-40B4-BE49-F238E27FC236}">
                        <a16:creationId xmlns:a16="http://schemas.microsoft.com/office/drawing/2014/main" id="{C676C821-543F-8FB4-1AA2-9DB1CE169508}"/>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162" name="Freeform 12">
                    <a:extLst>
                      <a:ext uri="{FF2B5EF4-FFF2-40B4-BE49-F238E27FC236}">
                        <a16:creationId xmlns:a16="http://schemas.microsoft.com/office/drawing/2014/main" id="{A4D6AC01-6491-EA77-6EB6-C9D576159170}"/>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167" name="Oval 13">
                    <a:extLst>
                      <a:ext uri="{FF2B5EF4-FFF2-40B4-BE49-F238E27FC236}">
                        <a16:creationId xmlns:a16="http://schemas.microsoft.com/office/drawing/2014/main" id="{A5919F96-1C58-58A6-D6C1-8915D0477FB2}"/>
                      </a:ext>
                    </a:extLst>
                  </p:cNvPr>
                  <p:cNvSpPr>
                    <a:spLocks noChangeArrowheads="1"/>
                  </p:cNvSpPr>
                  <p:nvPr/>
                </p:nvSpPr>
                <p:spPr bwMode="auto">
                  <a:xfrm>
                    <a:off x="1730375" y="2120902"/>
                    <a:ext cx="60325" cy="603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grpSp>
          </p:grpSp>
          <p:grpSp>
            <p:nvGrpSpPr>
              <p:cNvPr id="150" name="Gruppieren 359">
                <a:extLst>
                  <a:ext uri="{FF2B5EF4-FFF2-40B4-BE49-F238E27FC236}">
                    <a16:creationId xmlns:a16="http://schemas.microsoft.com/office/drawing/2014/main" id="{207F52F9-E490-DFAB-B90F-FC78068E2133}"/>
                  </a:ext>
                </a:extLst>
              </p:cNvPr>
              <p:cNvGrpSpPr/>
              <p:nvPr/>
            </p:nvGrpSpPr>
            <p:grpSpPr>
              <a:xfrm>
                <a:off x="431540" y="1425917"/>
                <a:ext cx="817200" cy="412452"/>
                <a:chOff x="431540" y="1425917"/>
                <a:chExt cx="817200" cy="412452"/>
              </a:xfrm>
            </p:grpSpPr>
            <p:sp>
              <p:nvSpPr>
                <p:cNvPr id="154" name="Freeform 11">
                  <a:extLst>
                    <a:ext uri="{FF2B5EF4-FFF2-40B4-BE49-F238E27FC236}">
                      <a16:creationId xmlns:a16="http://schemas.microsoft.com/office/drawing/2014/main" id="{E5618A18-4B8D-C66C-267B-CE0783E6CABF}"/>
                    </a:ext>
                  </a:extLst>
                </p:cNvPr>
                <p:cNvSpPr>
                  <a:spLocks/>
                </p:cNvSpPr>
                <p:nvPr/>
              </p:nvSpPr>
              <p:spPr bwMode="auto">
                <a:xfrm>
                  <a:off x="431540" y="1487276"/>
                  <a:ext cx="246261" cy="351093"/>
                </a:xfrm>
                <a:custGeom>
                  <a:avLst/>
                  <a:gdLst>
                    <a:gd name="T0" fmla="*/ 160 w 378"/>
                    <a:gd name="T1" fmla="*/ 534 h 534"/>
                    <a:gd name="T2" fmla="*/ 378 w 378"/>
                    <a:gd name="T3" fmla="*/ 139 h 534"/>
                    <a:gd name="T4" fmla="*/ 298 w 378"/>
                    <a:gd name="T5" fmla="*/ 0 h 534"/>
                    <a:gd name="T6" fmla="*/ 0 w 378"/>
                    <a:gd name="T7" fmla="*/ 534 h 534"/>
                    <a:gd name="T8" fmla="*/ 160 w 378"/>
                    <a:gd name="T9" fmla="*/ 534 h 534"/>
                  </a:gdLst>
                  <a:ahLst/>
                  <a:cxnLst>
                    <a:cxn ang="0">
                      <a:pos x="T0" y="T1"/>
                    </a:cxn>
                    <a:cxn ang="0">
                      <a:pos x="T2" y="T3"/>
                    </a:cxn>
                    <a:cxn ang="0">
                      <a:pos x="T4" y="T5"/>
                    </a:cxn>
                    <a:cxn ang="0">
                      <a:pos x="T6" y="T7"/>
                    </a:cxn>
                    <a:cxn ang="0">
                      <a:pos x="T8" y="T9"/>
                    </a:cxn>
                  </a:cxnLst>
                  <a:rect l="0" t="0" r="r" b="b"/>
                  <a:pathLst>
                    <a:path w="378" h="534">
                      <a:moveTo>
                        <a:pt x="160" y="534"/>
                      </a:moveTo>
                      <a:cubicBezTo>
                        <a:pt x="160" y="367"/>
                        <a:pt x="247" y="221"/>
                        <a:pt x="378" y="139"/>
                      </a:cubicBezTo>
                      <a:cubicBezTo>
                        <a:pt x="298" y="0"/>
                        <a:pt x="298" y="0"/>
                        <a:pt x="298" y="0"/>
                      </a:cubicBezTo>
                      <a:cubicBezTo>
                        <a:pt x="119" y="111"/>
                        <a:pt x="0" y="308"/>
                        <a:pt x="0" y="534"/>
                      </a:cubicBezTo>
                      <a:lnTo>
                        <a:pt x="160" y="534"/>
                      </a:ln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155" name="Freeform 12">
                  <a:extLst>
                    <a:ext uri="{FF2B5EF4-FFF2-40B4-BE49-F238E27FC236}">
                      <a16:creationId xmlns:a16="http://schemas.microsoft.com/office/drawing/2014/main" id="{5869FD13-EE72-6880-30A3-A054C6F1F0C0}"/>
                    </a:ext>
                  </a:extLst>
                </p:cNvPr>
                <p:cNvSpPr>
                  <a:spLocks/>
                </p:cNvSpPr>
                <p:nvPr/>
              </p:nvSpPr>
              <p:spPr bwMode="auto">
                <a:xfrm>
                  <a:off x="645883" y="1425917"/>
                  <a:ext cx="388514" cy="140878"/>
                </a:xfrm>
                <a:custGeom>
                  <a:avLst/>
                  <a:gdLst>
                    <a:gd name="T0" fmla="*/ 80 w 596"/>
                    <a:gd name="T1" fmla="*/ 214 h 214"/>
                    <a:gd name="T2" fmla="*/ 298 w 596"/>
                    <a:gd name="T3" fmla="*/ 160 h 214"/>
                    <a:gd name="T4" fmla="*/ 516 w 596"/>
                    <a:gd name="T5" fmla="*/ 214 h 214"/>
                    <a:gd name="T6" fmla="*/ 596 w 596"/>
                    <a:gd name="T7" fmla="*/ 75 h 214"/>
                    <a:gd name="T8" fmla="*/ 298 w 596"/>
                    <a:gd name="T9" fmla="*/ 0 h 214"/>
                    <a:gd name="T10" fmla="*/ 0 w 596"/>
                    <a:gd name="T11" fmla="*/ 75 h 214"/>
                    <a:gd name="T12" fmla="*/ 80 w 596"/>
                    <a:gd name="T13" fmla="*/ 214 h 214"/>
                  </a:gdLst>
                  <a:ahLst/>
                  <a:cxnLst>
                    <a:cxn ang="0">
                      <a:pos x="T0" y="T1"/>
                    </a:cxn>
                    <a:cxn ang="0">
                      <a:pos x="T2" y="T3"/>
                    </a:cxn>
                    <a:cxn ang="0">
                      <a:pos x="T4" y="T5"/>
                    </a:cxn>
                    <a:cxn ang="0">
                      <a:pos x="T6" y="T7"/>
                    </a:cxn>
                    <a:cxn ang="0">
                      <a:pos x="T8" y="T9"/>
                    </a:cxn>
                    <a:cxn ang="0">
                      <a:pos x="T10" y="T11"/>
                    </a:cxn>
                    <a:cxn ang="0">
                      <a:pos x="T12" y="T13"/>
                    </a:cxn>
                  </a:cxnLst>
                  <a:rect l="0" t="0" r="r" b="b"/>
                  <a:pathLst>
                    <a:path w="596" h="214">
                      <a:moveTo>
                        <a:pt x="80" y="214"/>
                      </a:moveTo>
                      <a:cubicBezTo>
                        <a:pt x="145" y="179"/>
                        <a:pt x="219" y="160"/>
                        <a:pt x="298" y="160"/>
                      </a:cubicBezTo>
                      <a:cubicBezTo>
                        <a:pt x="377" y="160"/>
                        <a:pt x="451" y="179"/>
                        <a:pt x="516" y="214"/>
                      </a:cubicBezTo>
                      <a:cubicBezTo>
                        <a:pt x="596" y="75"/>
                        <a:pt x="596" y="75"/>
                        <a:pt x="596" y="75"/>
                      </a:cubicBezTo>
                      <a:cubicBezTo>
                        <a:pt x="507" y="27"/>
                        <a:pt x="406" y="0"/>
                        <a:pt x="298" y="0"/>
                      </a:cubicBezTo>
                      <a:cubicBezTo>
                        <a:pt x="190" y="0"/>
                        <a:pt x="89" y="27"/>
                        <a:pt x="0" y="75"/>
                      </a:cubicBezTo>
                      <a:lnTo>
                        <a:pt x="80" y="214"/>
                      </a:ln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156" name="Freeform 13">
                  <a:extLst>
                    <a:ext uri="{FF2B5EF4-FFF2-40B4-BE49-F238E27FC236}">
                      <a16:creationId xmlns:a16="http://schemas.microsoft.com/office/drawing/2014/main" id="{46052840-C497-3B0F-F352-912D500B34E8}"/>
                    </a:ext>
                  </a:extLst>
                </p:cNvPr>
                <p:cNvSpPr>
                  <a:spLocks/>
                </p:cNvSpPr>
                <p:nvPr/>
              </p:nvSpPr>
              <p:spPr bwMode="auto">
                <a:xfrm>
                  <a:off x="1002479" y="1487276"/>
                  <a:ext cx="246261" cy="351093"/>
                </a:xfrm>
                <a:custGeom>
                  <a:avLst/>
                  <a:gdLst>
                    <a:gd name="T0" fmla="*/ 80 w 378"/>
                    <a:gd name="T1" fmla="*/ 0 h 534"/>
                    <a:gd name="T2" fmla="*/ 0 w 378"/>
                    <a:gd name="T3" fmla="*/ 139 h 534"/>
                    <a:gd name="T4" fmla="*/ 218 w 378"/>
                    <a:gd name="T5" fmla="*/ 534 h 534"/>
                    <a:gd name="T6" fmla="*/ 378 w 378"/>
                    <a:gd name="T7" fmla="*/ 534 h 534"/>
                    <a:gd name="T8" fmla="*/ 80 w 378"/>
                    <a:gd name="T9" fmla="*/ 0 h 534"/>
                  </a:gdLst>
                  <a:ahLst/>
                  <a:cxnLst>
                    <a:cxn ang="0">
                      <a:pos x="T0" y="T1"/>
                    </a:cxn>
                    <a:cxn ang="0">
                      <a:pos x="T2" y="T3"/>
                    </a:cxn>
                    <a:cxn ang="0">
                      <a:pos x="T4" y="T5"/>
                    </a:cxn>
                    <a:cxn ang="0">
                      <a:pos x="T6" y="T7"/>
                    </a:cxn>
                    <a:cxn ang="0">
                      <a:pos x="T8" y="T9"/>
                    </a:cxn>
                  </a:cxnLst>
                  <a:rect l="0" t="0" r="r" b="b"/>
                  <a:pathLst>
                    <a:path w="378" h="534">
                      <a:moveTo>
                        <a:pt x="80" y="0"/>
                      </a:moveTo>
                      <a:cubicBezTo>
                        <a:pt x="0" y="139"/>
                        <a:pt x="0" y="139"/>
                        <a:pt x="0" y="139"/>
                      </a:cubicBezTo>
                      <a:cubicBezTo>
                        <a:pt x="131" y="221"/>
                        <a:pt x="218" y="367"/>
                        <a:pt x="218" y="534"/>
                      </a:cubicBezTo>
                      <a:cubicBezTo>
                        <a:pt x="378" y="534"/>
                        <a:pt x="378" y="534"/>
                        <a:pt x="378" y="534"/>
                      </a:cubicBezTo>
                      <a:cubicBezTo>
                        <a:pt x="378" y="308"/>
                        <a:pt x="259" y="111"/>
                        <a:pt x="80" y="0"/>
                      </a:cubicBezTo>
                      <a:close/>
                    </a:path>
                  </a:pathLst>
                </a:custGeom>
                <a:solidFill>
                  <a:schemeClr val="tx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157" name="Freihandform: Form 363">
                  <a:extLst>
                    <a:ext uri="{FF2B5EF4-FFF2-40B4-BE49-F238E27FC236}">
                      <a16:creationId xmlns:a16="http://schemas.microsoft.com/office/drawing/2014/main" id="{AD4FE2BD-2623-612A-9F6F-3D1BD9B3D819}"/>
                    </a:ext>
                  </a:extLst>
                </p:cNvPr>
                <p:cNvSpPr>
                  <a:spLocks/>
                </p:cNvSpPr>
                <p:nvPr/>
              </p:nvSpPr>
              <p:spPr bwMode="auto">
                <a:xfrm>
                  <a:off x="556734" y="1552212"/>
                  <a:ext cx="566812" cy="286157"/>
                </a:xfrm>
                <a:custGeom>
                  <a:avLst/>
                  <a:gdLst>
                    <a:gd name="connsiteX0" fmla="*/ 283406 w 566812"/>
                    <a:gd name="connsiteY0" fmla="*/ 0 h 286157"/>
                    <a:gd name="connsiteX1" fmla="*/ 566812 w 566812"/>
                    <a:gd name="connsiteY1" fmla="*/ 286157 h 286157"/>
                    <a:gd name="connsiteX2" fmla="*/ 506571 w 566812"/>
                    <a:gd name="connsiteY2" fmla="*/ 286157 h 286157"/>
                    <a:gd name="connsiteX3" fmla="*/ 283406 w 566812"/>
                    <a:gd name="connsiteY3" fmla="*/ 60826 h 286157"/>
                    <a:gd name="connsiteX4" fmla="*/ 60241 w 566812"/>
                    <a:gd name="connsiteY4" fmla="*/ 286157 h 286157"/>
                    <a:gd name="connsiteX5" fmla="*/ 0 w 566812"/>
                    <a:gd name="connsiteY5" fmla="*/ 286157 h 286157"/>
                    <a:gd name="connsiteX6" fmla="*/ 283406 w 566812"/>
                    <a:gd name="connsiteY6" fmla="*/ 0 h 28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812" h="286157">
                      <a:moveTo>
                        <a:pt x="283406" y="0"/>
                      </a:moveTo>
                      <a:cubicBezTo>
                        <a:pt x="439768" y="0"/>
                        <a:pt x="566812" y="128277"/>
                        <a:pt x="566812" y="286157"/>
                      </a:cubicBezTo>
                      <a:lnTo>
                        <a:pt x="506571" y="286157"/>
                      </a:lnTo>
                      <a:cubicBezTo>
                        <a:pt x="506571" y="161837"/>
                        <a:pt x="406532" y="60826"/>
                        <a:pt x="283406" y="60826"/>
                      </a:cubicBezTo>
                      <a:cubicBezTo>
                        <a:pt x="160281" y="60826"/>
                        <a:pt x="60241" y="161837"/>
                        <a:pt x="60241" y="286157"/>
                      </a:cubicBezTo>
                      <a:lnTo>
                        <a:pt x="0" y="286157"/>
                      </a:lnTo>
                      <a:cubicBezTo>
                        <a:pt x="0" y="128277"/>
                        <a:pt x="127044" y="0"/>
                        <a:pt x="283406" y="0"/>
                      </a:cubicBez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grpSp>
        </p:grpSp>
        <p:grpSp>
          <p:nvGrpSpPr>
            <p:cNvPr id="81" name="Group 425">
              <a:extLst>
                <a:ext uri="{FF2B5EF4-FFF2-40B4-BE49-F238E27FC236}">
                  <a16:creationId xmlns:a16="http://schemas.microsoft.com/office/drawing/2014/main" id="{B3EEF4BB-6DCF-905D-F99C-ADB50CC446CF}"/>
                </a:ext>
              </a:extLst>
            </p:cNvPr>
            <p:cNvGrpSpPr/>
            <p:nvPr/>
          </p:nvGrpSpPr>
          <p:grpSpPr>
            <a:xfrm>
              <a:off x="3784737" y="2316624"/>
              <a:ext cx="691715" cy="313619"/>
              <a:chOff x="530081" y="3651542"/>
              <a:chExt cx="837319" cy="390144"/>
            </a:xfrm>
          </p:grpSpPr>
          <p:sp>
            <p:nvSpPr>
              <p:cNvPr id="82" name="Rechteck 273">
                <a:extLst>
                  <a:ext uri="{FF2B5EF4-FFF2-40B4-BE49-F238E27FC236}">
                    <a16:creationId xmlns:a16="http://schemas.microsoft.com/office/drawing/2014/main" id="{FBDAB522-8B60-C34B-AC8C-62EB47D79C85}"/>
                  </a:ext>
                </a:extLst>
              </p:cNvPr>
              <p:cNvSpPr/>
              <p:nvPr/>
            </p:nvSpPr>
            <p:spPr>
              <a:xfrm>
                <a:off x="530081" y="3685835"/>
                <a:ext cx="837319" cy="3558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bg1"/>
                  </a:buClr>
                </a:pPr>
                <a:r>
                  <a:rPr lang="en-GB" sz="700" dirty="0" err="1">
                    <a:solidFill>
                      <a:schemeClr val="bg2"/>
                    </a:solidFill>
                    <a:latin typeface="DWS Sans Light" panose="02010404010101010104" pitchFamily="50" charset="0"/>
                    <a:cs typeface="DWS Sans Light" panose="02010404010101010104" pitchFamily="50" charset="0"/>
                  </a:rPr>
                  <a:t>lungo</a:t>
                </a:r>
                <a:r>
                  <a:rPr lang="en-GB" sz="700" dirty="0">
                    <a:solidFill>
                      <a:schemeClr val="bg2"/>
                    </a:solidFill>
                    <a:latin typeface="DWS Sans Light" panose="02010404010101010104" pitchFamily="50" charset="0"/>
                    <a:cs typeface="DWS Sans Light" panose="02010404010101010104" pitchFamily="50" charset="0"/>
                  </a:rPr>
                  <a:t>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p:txBody>
          </p:sp>
          <p:sp>
            <p:nvSpPr>
              <p:cNvPr id="523" name="Rectangle 428">
                <a:extLst>
                  <a:ext uri="{FF2B5EF4-FFF2-40B4-BE49-F238E27FC236}">
                    <a16:creationId xmlns:a16="http://schemas.microsoft.com/office/drawing/2014/main" id="{14333A1C-6B6F-BE73-1E50-C9DD39E1FF00}"/>
                  </a:ext>
                </a:extLst>
              </p:cNvPr>
              <p:cNvSpPr/>
              <p:nvPr/>
            </p:nvSpPr>
            <p:spPr bwMode="auto">
              <a:xfrm>
                <a:off x="612278" y="3651542"/>
                <a:ext cx="205200" cy="84035"/>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sp>
            <p:nvSpPr>
              <p:cNvPr id="544" name="Rectangle 429">
                <a:extLst>
                  <a:ext uri="{FF2B5EF4-FFF2-40B4-BE49-F238E27FC236}">
                    <a16:creationId xmlns:a16="http://schemas.microsoft.com/office/drawing/2014/main" id="{B5915907-0D59-2C5E-5627-DFEBEDAD57ED}"/>
                  </a:ext>
                </a:extLst>
              </p:cNvPr>
              <p:cNvSpPr/>
              <p:nvPr/>
            </p:nvSpPr>
            <p:spPr bwMode="auto">
              <a:xfrm>
                <a:off x="1069462" y="3651542"/>
                <a:ext cx="205200" cy="84035"/>
              </a:xfrm>
              <a:prstGeom prst="rect">
                <a:avLst/>
              </a:prstGeom>
              <a:solidFill>
                <a:srgbClr val="AFCA0B"/>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sp>
            <p:nvSpPr>
              <p:cNvPr id="546" name="Rectangle 430">
                <a:extLst>
                  <a:ext uri="{FF2B5EF4-FFF2-40B4-BE49-F238E27FC236}">
                    <a16:creationId xmlns:a16="http://schemas.microsoft.com/office/drawing/2014/main" id="{2585BE95-E02C-C946-5929-247851D50F61}"/>
                  </a:ext>
                </a:extLst>
              </p:cNvPr>
              <p:cNvSpPr/>
              <p:nvPr/>
            </p:nvSpPr>
            <p:spPr bwMode="auto">
              <a:xfrm>
                <a:off x="840869" y="3651542"/>
                <a:ext cx="205200" cy="84035"/>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grpSp>
      </p:grpSp>
      <p:grpSp>
        <p:nvGrpSpPr>
          <p:cNvPr id="172" name="Gruppieren 171">
            <a:extLst>
              <a:ext uri="{FF2B5EF4-FFF2-40B4-BE49-F238E27FC236}">
                <a16:creationId xmlns:a16="http://schemas.microsoft.com/office/drawing/2014/main" id="{98F237F7-CC00-A106-DA2B-9A2E0DF46543}"/>
              </a:ext>
            </a:extLst>
          </p:cNvPr>
          <p:cNvGrpSpPr/>
          <p:nvPr/>
        </p:nvGrpSpPr>
        <p:grpSpPr>
          <a:xfrm>
            <a:off x="4334405" y="4397762"/>
            <a:ext cx="756161" cy="913002"/>
            <a:chOff x="491646" y="2949578"/>
            <a:chExt cx="756161" cy="913002"/>
          </a:xfrm>
        </p:grpSpPr>
        <p:grpSp>
          <p:nvGrpSpPr>
            <p:cNvPr id="173" name="Group 52">
              <a:extLst>
                <a:ext uri="{FF2B5EF4-FFF2-40B4-BE49-F238E27FC236}">
                  <a16:creationId xmlns:a16="http://schemas.microsoft.com/office/drawing/2014/main" id="{79AE4195-8361-50D7-7EA0-0E3AD28DC6C2}"/>
                </a:ext>
              </a:extLst>
            </p:cNvPr>
            <p:cNvGrpSpPr/>
            <p:nvPr/>
          </p:nvGrpSpPr>
          <p:grpSpPr>
            <a:xfrm>
              <a:off x="491646" y="2949578"/>
              <a:ext cx="741356" cy="471703"/>
              <a:chOff x="1250181" y="1425917"/>
              <a:chExt cx="1107157" cy="704378"/>
            </a:xfrm>
          </p:grpSpPr>
          <p:sp>
            <p:nvSpPr>
              <p:cNvPr id="179" name="Rechteck 273">
                <a:extLst>
                  <a:ext uri="{FF2B5EF4-FFF2-40B4-BE49-F238E27FC236}">
                    <a16:creationId xmlns:a16="http://schemas.microsoft.com/office/drawing/2014/main" id="{BC97F445-DFAD-025A-7FB1-207F8E125342}"/>
                  </a:ext>
                </a:extLst>
              </p:cNvPr>
              <p:cNvSpPr/>
              <p:nvPr/>
            </p:nvSpPr>
            <p:spPr>
              <a:xfrm>
                <a:off x="1250181" y="1966472"/>
                <a:ext cx="1107157" cy="163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bg1"/>
                  </a:buClr>
                </a:pPr>
                <a:r>
                  <a:rPr lang="en-GB" sz="700" dirty="0">
                    <a:solidFill>
                      <a:schemeClr val="bg2"/>
                    </a:solidFill>
                    <a:latin typeface="DWS Sans Light" panose="02010404010101010104" pitchFamily="50" charset="0"/>
                    <a:cs typeface="DWS Sans Light" panose="02010404010101010104" pitchFamily="50" charset="0"/>
                  </a:rPr>
                  <a:t>breve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p:txBody>
          </p:sp>
          <p:grpSp>
            <p:nvGrpSpPr>
              <p:cNvPr id="181" name="Gruppieren 364">
                <a:extLst>
                  <a:ext uri="{FF2B5EF4-FFF2-40B4-BE49-F238E27FC236}">
                    <a16:creationId xmlns:a16="http://schemas.microsoft.com/office/drawing/2014/main" id="{E625FF1B-CE89-116A-E8F2-6A2188BA29BE}"/>
                  </a:ext>
                </a:extLst>
              </p:cNvPr>
              <p:cNvGrpSpPr/>
              <p:nvPr/>
            </p:nvGrpSpPr>
            <p:grpSpPr>
              <a:xfrm>
                <a:off x="1787544" y="1645811"/>
                <a:ext cx="84660" cy="367354"/>
                <a:chOff x="1662113" y="1735139"/>
                <a:chExt cx="192088" cy="833505"/>
              </a:xfrm>
            </p:grpSpPr>
            <p:grpSp>
              <p:nvGrpSpPr>
                <p:cNvPr id="187" name="Gruppieren 365">
                  <a:extLst>
                    <a:ext uri="{FF2B5EF4-FFF2-40B4-BE49-F238E27FC236}">
                      <a16:creationId xmlns:a16="http://schemas.microsoft.com/office/drawing/2014/main" id="{4C5FA72F-DCFA-65AE-49B8-1AD4DC8B10DC}"/>
                    </a:ext>
                  </a:extLst>
                </p:cNvPr>
                <p:cNvGrpSpPr/>
                <p:nvPr/>
              </p:nvGrpSpPr>
              <p:grpSpPr>
                <a:xfrm>
                  <a:off x="1662113" y="1735139"/>
                  <a:ext cx="192088" cy="506413"/>
                  <a:chOff x="1662113" y="1735139"/>
                  <a:chExt cx="192088" cy="506413"/>
                </a:xfrm>
              </p:grpSpPr>
              <p:sp>
                <p:nvSpPr>
                  <p:cNvPr id="579" name="Freeform 10">
                    <a:extLst>
                      <a:ext uri="{FF2B5EF4-FFF2-40B4-BE49-F238E27FC236}">
                        <a16:creationId xmlns:a16="http://schemas.microsoft.com/office/drawing/2014/main" id="{3B55A2B4-BE32-5640-3F75-1B3626433CEC}"/>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solidFill>
                    <a:srgbClr val="B7C5C8"/>
                  </a:solid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580" name="Freeform 12">
                    <a:extLst>
                      <a:ext uri="{FF2B5EF4-FFF2-40B4-BE49-F238E27FC236}">
                        <a16:creationId xmlns:a16="http://schemas.microsoft.com/office/drawing/2014/main" id="{B06C8344-AA75-F441-241E-91A9256A28FE}"/>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581" name="Oval 13">
                    <a:extLst>
                      <a:ext uri="{FF2B5EF4-FFF2-40B4-BE49-F238E27FC236}">
                        <a16:creationId xmlns:a16="http://schemas.microsoft.com/office/drawing/2014/main" id="{B43282A0-48CE-B743-7A64-B510DA7198A4}"/>
                      </a:ext>
                    </a:extLst>
                  </p:cNvPr>
                  <p:cNvSpPr>
                    <a:spLocks noChangeArrowheads="1"/>
                  </p:cNvSpPr>
                  <p:nvPr/>
                </p:nvSpPr>
                <p:spPr bwMode="auto">
                  <a:xfrm>
                    <a:off x="1730375" y="2120902"/>
                    <a:ext cx="60325" cy="603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582" name="Freeform 11">
                    <a:extLst>
                      <a:ext uri="{FF2B5EF4-FFF2-40B4-BE49-F238E27FC236}">
                        <a16:creationId xmlns:a16="http://schemas.microsoft.com/office/drawing/2014/main" id="{EB591E8B-7B3C-43E8-EA17-AE9554DEAF56}"/>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grpSp>
            <p:grpSp>
              <p:nvGrpSpPr>
                <p:cNvPr id="188" name="Gruppieren 366">
                  <a:extLst>
                    <a:ext uri="{FF2B5EF4-FFF2-40B4-BE49-F238E27FC236}">
                      <a16:creationId xmlns:a16="http://schemas.microsoft.com/office/drawing/2014/main" id="{E1471F43-C974-E12B-A997-A47C010C26D2}"/>
                    </a:ext>
                  </a:extLst>
                </p:cNvPr>
                <p:cNvGrpSpPr/>
                <p:nvPr/>
              </p:nvGrpSpPr>
              <p:grpSpPr>
                <a:xfrm flipV="1">
                  <a:off x="1662113" y="2062231"/>
                  <a:ext cx="192088" cy="506413"/>
                  <a:chOff x="1662113" y="1735139"/>
                  <a:chExt cx="192088" cy="506413"/>
                </a:xfrm>
                <a:noFill/>
              </p:grpSpPr>
              <p:sp>
                <p:nvSpPr>
                  <p:cNvPr id="189" name="Freeform 10">
                    <a:extLst>
                      <a:ext uri="{FF2B5EF4-FFF2-40B4-BE49-F238E27FC236}">
                        <a16:creationId xmlns:a16="http://schemas.microsoft.com/office/drawing/2014/main" id="{5595F642-D183-7420-A906-79BA534A48B4}"/>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grp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190" name="Freeform 11">
                    <a:extLst>
                      <a:ext uri="{FF2B5EF4-FFF2-40B4-BE49-F238E27FC236}">
                        <a16:creationId xmlns:a16="http://schemas.microsoft.com/office/drawing/2014/main" id="{EB887731-60F9-75B1-B3FB-465C675EC420}"/>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grp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191" name="Freeform 12">
                    <a:extLst>
                      <a:ext uri="{FF2B5EF4-FFF2-40B4-BE49-F238E27FC236}">
                        <a16:creationId xmlns:a16="http://schemas.microsoft.com/office/drawing/2014/main" id="{3958CCE5-0138-DBF8-203F-FBC51C4F72EB}"/>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578" name="Oval 13">
                    <a:extLst>
                      <a:ext uri="{FF2B5EF4-FFF2-40B4-BE49-F238E27FC236}">
                        <a16:creationId xmlns:a16="http://schemas.microsoft.com/office/drawing/2014/main" id="{1784FE12-ABF5-E5AE-83A8-283F16511658}"/>
                      </a:ext>
                    </a:extLst>
                  </p:cNvPr>
                  <p:cNvSpPr>
                    <a:spLocks noChangeArrowheads="1"/>
                  </p:cNvSpPr>
                  <p:nvPr/>
                </p:nvSpPr>
                <p:spPr bwMode="auto">
                  <a:xfrm>
                    <a:off x="1730375" y="2120902"/>
                    <a:ext cx="60325" cy="60325"/>
                  </a:xfrm>
                  <a:prstGeom prst="ellipse">
                    <a:avLst/>
                  </a:prstGeom>
                  <a:grpFill/>
                  <a:ln>
                    <a:noFill/>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grpSp>
          </p:grpSp>
          <p:grpSp>
            <p:nvGrpSpPr>
              <p:cNvPr id="182" name="Gruppieren 375">
                <a:extLst>
                  <a:ext uri="{FF2B5EF4-FFF2-40B4-BE49-F238E27FC236}">
                    <a16:creationId xmlns:a16="http://schemas.microsoft.com/office/drawing/2014/main" id="{B981BADA-1286-325E-717F-DD26F9BC8F1F}"/>
                  </a:ext>
                </a:extLst>
              </p:cNvPr>
              <p:cNvGrpSpPr/>
              <p:nvPr/>
            </p:nvGrpSpPr>
            <p:grpSpPr>
              <a:xfrm>
                <a:off x="1430336" y="1425917"/>
                <a:ext cx="817200" cy="412452"/>
                <a:chOff x="1430336" y="1425917"/>
                <a:chExt cx="817200" cy="412452"/>
              </a:xfrm>
            </p:grpSpPr>
            <p:sp>
              <p:nvSpPr>
                <p:cNvPr id="183" name="Freeform 11">
                  <a:extLst>
                    <a:ext uri="{FF2B5EF4-FFF2-40B4-BE49-F238E27FC236}">
                      <a16:creationId xmlns:a16="http://schemas.microsoft.com/office/drawing/2014/main" id="{6B6DFC7F-40B5-5B40-A8D5-24A0F4858FE9}"/>
                    </a:ext>
                  </a:extLst>
                </p:cNvPr>
                <p:cNvSpPr>
                  <a:spLocks/>
                </p:cNvSpPr>
                <p:nvPr/>
              </p:nvSpPr>
              <p:spPr bwMode="auto">
                <a:xfrm>
                  <a:off x="1430336" y="1487276"/>
                  <a:ext cx="246261" cy="351093"/>
                </a:xfrm>
                <a:custGeom>
                  <a:avLst/>
                  <a:gdLst>
                    <a:gd name="T0" fmla="*/ 160 w 378"/>
                    <a:gd name="T1" fmla="*/ 534 h 534"/>
                    <a:gd name="T2" fmla="*/ 378 w 378"/>
                    <a:gd name="T3" fmla="*/ 139 h 534"/>
                    <a:gd name="T4" fmla="*/ 298 w 378"/>
                    <a:gd name="T5" fmla="*/ 0 h 534"/>
                    <a:gd name="T6" fmla="*/ 0 w 378"/>
                    <a:gd name="T7" fmla="*/ 534 h 534"/>
                    <a:gd name="T8" fmla="*/ 160 w 378"/>
                    <a:gd name="T9" fmla="*/ 534 h 534"/>
                  </a:gdLst>
                  <a:ahLst/>
                  <a:cxnLst>
                    <a:cxn ang="0">
                      <a:pos x="T0" y="T1"/>
                    </a:cxn>
                    <a:cxn ang="0">
                      <a:pos x="T2" y="T3"/>
                    </a:cxn>
                    <a:cxn ang="0">
                      <a:pos x="T4" y="T5"/>
                    </a:cxn>
                    <a:cxn ang="0">
                      <a:pos x="T6" y="T7"/>
                    </a:cxn>
                    <a:cxn ang="0">
                      <a:pos x="T8" y="T9"/>
                    </a:cxn>
                  </a:cxnLst>
                  <a:rect l="0" t="0" r="r" b="b"/>
                  <a:pathLst>
                    <a:path w="378" h="534">
                      <a:moveTo>
                        <a:pt x="160" y="534"/>
                      </a:moveTo>
                      <a:cubicBezTo>
                        <a:pt x="160" y="367"/>
                        <a:pt x="247" y="221"/>
                        <a:pt x="378" y="139"/>
                      </a:cubicBezTo>
                      <a:cubicBezTo>
                        <a:pt x="298" y="0"/>
                        <a:pt x="298" y="0"/>
                        <a:pt x="298" y="0"/>
                      </a:cubicBezTo>
                      <a:cubicBezTo>
                        <a:pt x="119" y="111"/>
                        <a:pt x="0" y="308"/>
                        <a:pt x="0" y="534"/>
                      </a:cubicBezTo>
                      <a:lnTo>
                        <a:pt x="160" y="534"/>
                      </a:ln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184" name="Freeform 12">
                  <a:extLst>
                    <a:ext uri="{FF2B5EF4-FFF2-40B4-BE49-F238E27FC236}">
                      <a16:creationId xmlns:a16="http://schemas.microsoft.com/office/drawing/2014/main" id="{4E6F2060-A200-FBF8-93B8-A26CBA95460B}"/>
                    </a:ext>
                  </a:extLst>
                </p:cNvPr>
                <p:cNvSpPr>
                  <a:spLocks/>
                </p:cNvSpPr>
                <p:nvPr/>
              </p:nvSpPr>
              <p:spPr bwMode="auto">
                <a:xfrm>
                  <a:off x="1644679" y="1425917"/>
                  <a:ext cx="388514" cy="140878"/>
                </a:xfrm>
                <a:custGeom>
                  <a:avLst/>
                  <a:gdLst>
                    <a:gd name="T0" fmla="*/ 80 w 596"/>
                    <a:gd name="T1" fmla="*/ 214 h 214"/>
                    <a:gd name="T2" fmla="*/ 298 w 596"/>
                    <a:gd name="T3" fmla="*/ 160 h 214"/>
                    <a:gd name="T4" fmla="*/ 516 w 596"/>
                    <a:gd name="T5" fmla="*/ 214 h 214"/>
                    <a:gd name="T6" fmla="*/ 596 w 596"/>
                    <a:gd name="T7" fmla="*/ 75 h 214"/>
                    <a:gd name="T8" fmla="*/ 298 w 596"/>
                    <a:gd name="T9" fmla="*/ 0 h 214"/>
                    <a:gd name="T10" fmla="*/ 0 w 596"/>
                    <a:gd name="T11" fmla="*/ 75 h 214"/>
                    <a:gd name="T12" fmla="*/ 80 w 596"/>
                    <a:gd name="T13" fmla="*/ 214 h 214"/>
                  </a:gdLst>
                  <a:ahLst/>
                  <a:cxnLst>
                    <a:cxn ang="0">
                      <a:pos x="T0" y="T1"/>
                    </a:cxn>
                    <a:cxn ang="0">
                      <a:pos x="T2" y="T3"/>
                    </a:cxn>
                    <a:cxn ang="0">
                      <a:pos x="T4" y="T5"/>
                    </a:cxn>
                    <a:cxn ang="0">
                      <a:pos x="T6" y="T7"/>
                    </a:cxn>
                    <a:cxn ang="0">
                      <a:pos x="T8" y="T9"/>
                    </a:cxn>
                    <a:cxn ang="0">
                      <a:pos x="T10" y="T11"/>
                    </a:cxn>
                    <a:cxn ang="0">
                      <a:pos x="T12" y="T13"/>
                    </a:cxn>
                  </a:cxnLst>
                  <a:rect l="0" t="0" r="r" b="b"/>
                  <a:pathLst>
                    <a:path w="596" h="214">
                      <a:moveTo>
                        <a:pt x="80" y="214"/>
                      </a:moveTo>
                      <a:cubicBezTo>
                        <a:pt x="145" y="179"/>
                        <a:pt x="219" y="160"/>
                        <a:pt x="298" y="160"/>
                      </a:cubicBezTo>
                      <a:cubicBezTo>
                        <a:pt x="377" y="160"/>
                        <a:pt x="451" y="179"/>
                        <a:pt x="516" y="214"/>
                      </a:cubicBezTo>
                      <a:cubicBezTo>
                        <a:pt x="596" y="75"/>
                        <a:pt x="596" y="75"/>
                        <a:pt x="596" y="75"/>
                      </a:cubicBezTo>
                      <a:cubicBezTo>
                        <a:pt x="507" y="27"/>
                        <a:pt x="406" y="0"/>
                        <a:pt x="298" y="0"/>
                      </a:cubicBezTo>
                      <a:cubicBezTo>
                        <a:pt x="190" y="0"/>
                        <a:pt x="89" y="27"/>
                        <a:pt x="0" y="75"/>
                      </a:cubicBezTo>
                      <a:lnTo>
                        <a:pt x="80" y="214"/>
                      </a:lnTo>
                      <a:close/>
                    </a:path>
                  </a:pathLst>
                </a:custGeom>
                <a:solidFill>
                  <a:srgbClr val="E8C64D"/>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185" name="Freeform 13">
                  <a:extLst>
                    <a:ext uri="{FF2B5EF4-FFF2-40B4-BE49-F238E27FC236}">
                      <a16:creationId xmlns:a16="http://schemas.microsoft.com/office/drawing/2014/main" id="{423222EB-F46E-8E39-B1CF-BE1DCD55C6DC}"/>
                    </a:ext>
                  </a:extLst>
                </p:cNvPr>
                <p:cNvSpPr>
                  <a:spLocks/>
                </p:cNvSpPr>
                <p:nvPr/>
              </p:nvSpPr>
              <p:spPr bwMode="auto">
                <a:xfrm>
                  <a:off x="2001275" y="1487276"/>
                  <a:ext cx="246261" cy="351093"/>
                </a:xfrm>
                <a:custGeom>
                  <a:avLst/>
                  <a:gdLst>
                    <a:gd name="T0" fmla="*/ 80 w 378"/>
                    <a:gd name="T1" fmla="*/ 0 h 534"/>
                    <a:gd name="T2" fmla="*/ 0 w 378"/>
                    <a:gd name="T3" fmla="*/ 139 h 534"/>
                    <a:gd name="T4" fmla="*/ 218 w 378"/>
                    <a:gd name="T5" fmla="*/ 534 h 534"/>
                    <a:gd name="T6" fmla="*/ 378 w 378"/>
                    <a:gd name="T7" fmla="*/ 534 h 534"/>
                    <a:gd name="T8" fmla="*/ 80 w 378"/>
                    <a:gd name="T9" fmla="*/ 0 h 534"/>
                  </a:gdLst>
                  <a:ahLst/>
                  <a:cxnLst>
                    <a:cxn ang="0">
                      <a:pos x="T0" y="T1"/>
                    </a:cxn>
                    <a:cxn ang="0">
                      <a:pos x="T2" y="T3"/>
                    </a:cxn>
                    <a:cxn ang="0">
                      <a:pos x="T4" y="T5"/>
                    </a:cxn>
                    <a:cxn ang="0">
                      <a:pos x="T6" y="T7"/>
                    </a:cxn>
                    <a:cxn ang="0">
                      <a:pos x="T8" y="T9"/>
                    </a:cxn>
                  </a:cxnLst>
                  <a:rect l="0" t="0" r="r" b="b"/>
                  <a:pathLst>
                    <a:path w="378" h="534">
                      <a:moveTo>
                        <a:pt x="80" y="0"/>
                      </a:moveTo>
                      <a:cubicBezTo>
                        <a:pt x="0" y="139"/>
                        <a:pt x="0" y="139"/>
                        <a:pt x="0" y="139"/>
                      </a:cubicBezTo>
                      <a:cubicBezTo>
                        <a:pt x="131" y="221"/>
                        <a:pt x="218" y="367"/>
                        <a:pt x="218" y="534"/>
                      </a:cubicBezTo>
                      <a:cubicBezTo>
                        <a:pt x="378" y="534"/>
                        <a:pt x="378" y="534"/>
                        <a:pt x="378" y="534"/>
                      </a:cubicBezTo>
                      <a:cubicBezTo>
                        <a:pt x="378" y="308"/>
                        <a:pt x="259" y="111"/>
                        <a:pt x="80" y="0"/>
                      </a:cubicBez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de-DE" sz="600" dirty="0">
                    <a:solidFill>
                      <a:schemeClr val="bg2"/>
                    </a:solidFill>
                    <a:latin typeface="+mn-lt"/>
                    <a:cs typeface="DWS Sans TT Light" panose="02010404010101010104" pitchFamily="2" charset="0"/>
                  </a:endParaRPr>
                </a:p>
              </p:txBody>
            </p:sp>
            <p:sp>
              <p:nvSpPr>
                <p:cNvPr id="186" name="Freihandform: Form 379">
                  <a:extLst>
                    <a:ext uri="{FF2B5EF4-FFF2-40B4-BE49-F238E27FC236}">
                      <a16:creationId xmlns:a16="http://schemas.microsoft.com/office/drawing/2014/main" id="{28228FFD-6C84-B9D5-D818-88C746E572FA}"/>
                    </a:ext>
                  </a:extLst>
                </p:cNvPr>
                <p:cNvSpPr>
                  <a:spLocks/>
                </p:cNvSpPr>
                <p:nvPr/>
              </p:nvSpPr>
              <p:spPr bwMode="auto">
                <a:xfrm>
                  <a:off x="1555530" y="1552212"/>
                  <a:ext cx="566812" cy="286157"/>
                </a:xfrm>
                <a:custGeom>
                  <a:avLst/>
                  <a:gdLst>
                    <a:gd name="connsiteX0" fmla="*/ 283406 w 566812"/>
                    <a:gd name="connsiteY0" fmla="*/ 0 h 286157"/>
                    <a:gd name="connsiteX1" fmla="*/ 566812 w 566812"/>
                    <a:gd name="connsiteY1" fmla="*/ 286157 h 286157"/>
                    <a:gd name="connsiteX2" fmla="*/ 506571 w 566812"/>
                    <a:gd name="connsiteY2" fmla="*/ 286157 h 286157"/>
                    <a:gd name="connsiteX3" fmla="*/ 283406 w 566812"/>
                    <a:gd name="connsiteY3" fmla="*/ 60826 h 286157"/>
                    <a:gd name="connsiteX4" fmla="*/ 60241 w 566812"/>
                    <a:gd name="connsiteY4" fmla="*/ 286157 h 286157"/>
                    <a:gd name="connsiteX5" fmla="*/ 0 w 566812"/>
                    <a:gd name="connsiteY5" fmla="*/ 286157 h 286157"/>
                    <a:gd name="connsiteX6" fmla="*/ 283406 w 566812"/>
                    <a:gd name="connsiteY6" fmla="*/ 0 h 28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812" h="286157">
                      <a:moveTo>
                        <a:pt x="283406" y="0"/>
                      </a:moveTo>
                      <a:cubicBezTo>
                        <a:pt x="439768" y="0"/>
                        <a:pt x="566812" y="128277"/>
                        <a:pt x="566812" y="286157"/>
                      </a:cubicBezTo>
                      <a:lnTo>
                        <a:pt x="506571" y="286157"/>
                      </a:lnTo>
                      <a:cubicBezTo>
                        <a:pt x="506571" y="161837"/>
                        <a:pt x="406532" y="60826"/>
                        <a:pt x="283406" y="60826"/>
                      </a:cubicBezTo>
                      <a:cubicBezTo>
                        <a:pt x="160281" y="60826"/>
                        <a:pt x="60241" y="161837"/>
                        <a:pt x="60241" y="286157"/>
                      </a:cubicBezTo>
                      <a:lnTo>
                        <a:pt x="0" y="286157"/>
                      </a:lnTo>
                      <a:cubicBezTo>
                        <a:pt x="0" y="128277"/>
                        <a:pt x="127044" y="0"/>
                        <a:pt x="283406" y="0"/>
                      </a:cubicBez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algn="ctr"/>
                  <a:endParaRPr lang="de-DE" sz="600" dirty="0">
                    <a:solidFill>
                      <a:schemeClr val="bg2"/>
                    </a:solidFill>
                    <a:latin typeface="+mn-lt"/>
                    <a:cs typeface="DWS Sans TT Light" panose="02010404010101010104" pitchFamily="2" charset="0"/>
                  </a:endParaRPr>
                </a:p>
              </p:txBody>
            </p:sp>
          </p:grpSp>
        </p:grpSp>
        <p:grpSp>
          <p:nvGrpSpPr>
            <p:cNvPr id="174" name="Group 3">
              <a:extLst>
                <a:ext uri="{FF2B5EF4-FFF2-40B4-BE49-F238E27FC236}">
                  <a16:creationId xmlns:a16="http://schemas.microsoft.com/office/drawing/2014/main" id="{DCDB1318-8175-87BE-DDB9-23EB5FF44D14}"/>
                </a:ext>
              </a:extLst>
            </p:cNvPr>
            <p:cNvGrpSpPr/>
            <p:nvPr/>
          </p:nvGrpSpPr>
          <p:grpSpPr>
            <a:xfrm>
              <a:off x="537596" y="3465842"/>
              <a:ext cx="710211" cy="396738"/>
              <a:chOff x="521875" y="3642063"/>
              <a:chExt cx="859705" cy="493538"/>
            </a:xfrm>
          </p:grpSpPr>
          <p:sp>
            <p:nvSpPr>
              <p:cNvPr id="175" name="Rechteck 273">
                <a:extLst>
                  <a:ext uri="{FF2B5EF4-FFF2-40B4-BE49-F238E27FC236}">
                    <a16:creationId xmlns:a16="http://schemas.microsoft.com/office/drawing/2014/main" id="{56D2262B-D9BD-95EF-1257-01C047F72133}"/>
                  </a:ext>
                </a:extLst>
              </p:cNvPr>
              <p:cNvSpPr/>
              <p:nvPr/>
            </p:nvSpPr>
            <p:spPr>
              <a:xfrm>
                <a:off x="521875" y="3766382"/>
                <a:ext cx="859705" cy="3692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bg1"/>
                  </a:buClr>
                </a:pPr>
                <a:r>
                  <a:rPr lang="en-GB" sz="700" dirty="0" err="1">
                    <a:solidFill>
                      <a:schemeClr val="bg2"/>
                    </a:solidFill>
                    <a:latin typeface="DWS Sans Light" panose="02010404010101010104" pitchFamily="50" charset="0"/>
                    <a:cs typeface="DWS Sans Light" panose="02010404010101010104" pitchFamily="50" charset="0"/>
                  </a:rPr>
                  <a:t>lungo</a:t>
                </a:r>
                <a:r>
                  <a:rPr lang="en-GB" sz="700" dirty="0">
                    <a:solidFill>
                      <a:schemeClr val="bg2"/>
                    </a:solidFill>
                    <a:latin typeface="DWS Sans Light" panose="02010404010101010104" pitchFamily="50" charset="0"/>
                    <a:cs typeface="DWS Sans Light" panose="02010404010101010104" pitchFamily="50" charset="0"/>
                  </a:rPr>
                  <a:t>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a:p>
                <a:pPr algn="ctr">
                  <a:spcBef>
                    <a:spcPts val="600"/>
                  </a:spcBef>
                  <a:buClr>
                    <a:schemeClr val="bg1"/>
                  </a:buClr>
                </a:pPr>
                <a:endParaRPr lang="de-DE" sz="700" dirty="0">
                  <a:solidFill>
                    <a:schemeClr val="bg2"/>
                  </a:solidFill>
                  <a:latin typeface="DWS Sans Light" panose="02010404010101010104" pitchFamily="50" charset="0"/>
                  <a:cs typeface="DWS Sans Light" panose="02010404010101010104" pitchFamily="50" charset="0"/>
                </a:endParaRPr>
              </a:p>
            </p:txBody>
          </p:sp>
          <p:sp>
            <p:nvSpPr>
              <p:cNvPr id="176" name="Rectangle 2">
                <a:extLst>
                  <a:ext uri="{FF2B5EF4-FFF2-40B4-BE49-F238E27FC236}">
                    <a16:creationId xmlns:a16="http://schemas.microsoft.com/office/drawing/2014/main" id="{BF1FDD62-F4CC-4C5A-F5AF-8384575EBF91}"/>
                  </a:ext>
                </a:extLst>
              </p:cNvPr>
              <p:cNvSpPr/>
              <p:nvPr/>
            </p:nvSpPr>
            <p:spPr bwMode="auto">
              <a:xfrm>
                <a:off x="612278" y="3642063"/>
                <a:ext cx="205200" cy="84034"/>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600" dirty="0">
                  <a:latin typeface="+mn-lt"/>
                </a:endParaRPr>
              </a:p>
            </p:txBody>
          </p:sp>
          <p:sp>
            <p:nvSpPr>
              <p:cNvPr id="177" name="Rectangle 215">
                <a:extLst>
                  <a:ext uri="{FF2B5EF4-FFF2-40B4-BE49-F238E27FC236}">
                    <a16:creationId xmlns:a16="http://schemas.microsoft.com/office/drawing/2014/main" id="{6C4FA7E2-4B84-BFB6-9B6D-58ACAE8F6A1C}"/>
                  </a:ext>
                </a:extLst>
              </p:cNvPr>
              <p:cNvSpPr/>
              <p:nvPr/>
            </p:nvSpPr>
            <p:spPr bwMode="auto">
              <a:xfrm>
                <a:off x="1069462" y="3642063"/>
                <a:ext cx="205200" cy="84034"/>
              </a:xfrm>
              <a:prstGeom prst="rect">
                <a:avLst/>
              </a:prstGeom>
              <a:solidFill>
                <a:srgbClr val="AFCA0B"/>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600" dirty="0">
                  <a:latin typeface="+mn-lt"/>
                </a:endParaRPr>
              </a:p>
            </p:txBody>
          </p:sp>
          <p:sp>
            <p:nvSpPr>
              <p:cNvPr id="178" name="Rectangle 216">
                <a:extLst>
                  <a:ext uri="{FF2B5EF4-FFF2-40B4-BE49-F238E27FC236}">
                    <a16:creationId xmlns:a16="http://schemas.microsoft.com/office/drawing/2014/main" id="{AF68FD9D-A9AF-8EB7-E447-FD1DBF2BFF3B}"/>
                  </a:ext>
                </a:extLst>
              </p:cNvPr>
              <p:cNvSpPr/>
              <p:nvPr/>
            </p:nvSpPr>
            <p:spPr bwMode="auto">
              <a:xfrm>
                <a:off x="840870" y="3642063"/>
                <a:ext cx="205200" cy="84034"/>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600" dirty="0">
                  <a:latin typeface="+mn-lt"/>
                </a:endParaRPr>
              </a:p>
            </p:txBody>
          </p:sp>
        </p:grpSp>
      </p:grpSp>
      <p:sp>
        <p:nvSpPr>
          <p:cNvPr id="31" name="Rechteck 30">
            <a:extLst>
              <a:ext uri="{FF2B5EF4-FFF2-40B4-BE49-F238E27FC236}">
                <a16:creationId xmlns:a16="http://schemas.microsoft.com/office/drawing/2014/main" id="{42E12A63-D838-86A1-C6B8-A71744E38C5A}"/>
              </a:ext>
            </a:extLst>
          </p:cNvPr>
          <p:cNvSpPr/>
          <p:nvPr/>
        </p:nvSpPr>
        <p:spPr bwMode="auto">
          <a:xfrm>
            <a:off x="632346" y="1926511"/>
            <a:ext cx="696663" cy="141312"/>
          </a:xfrm>
          <a:prstGeom prst="rect">
            <a:avLst/>
          </a:prstGeom>
          <a:solidFill>
            <a:schemeClr val="accent3">
              <a:lumMod val="20000"/>
              <a:lumOff val="80000"/>
            </a:schemeClr>
          </a:solidFill>
          <a:ln w="6350">
            <a:noFill/>
            <a:miter lim="800000"/>
            <a:headEnd/>
            <a:tailEnd/>
          </a:ln>
        </p:spPr>
        <p:txBody>
          <a:bodyPr lIns="0" tIns="54000" rIns="0" bIns="72000" rtlCol="0" anchor="ctr" anchorCtr="0">
            <a:noAutofit/>
          </a:bodyPr>
          <a:lstStyle/>
          <a:p>
            <a:pPr algn="ctr" defTabSz="963613" eaLnBrk="0" hangingPunct="0">
              <a:lnSpc>
                <a:spcPct val="106000"/>
              </a:lnSpc>
              <a:spcBef>
                <a:spcPts val="200"/>
              </a:spcBef>
              <a:tabLst>
                <a:tab pos="1257300" algn="l"/>
              </a:tabLst>
            </a:pPr>
            <a:r>
              <a:rPr lang="en-GB" sz="600" dirty="0">
                <a:solidFill>
                  <a:schemeClr val="bg2"/>
                </a:solidFill>
                <a:latin typeface="DWS Sans Light" panose="02010404010101010104" pitchFamily="50" charset="0"/>
                <a:cs typeface="DWS Sans Light" panose="02010404010101010104" pitchFamily="50" charset="0"/>
              </a:rPr>
              <a:t>Vera Fehling</a:t>
            </a:r>
          </a:p>
        </p:txBody>
      </p:sp>
      <p:pic>
        <p:nvPicPr>
          <p:cNvPr id="3" name="Grafik 2" descr="Ein Bild, das Menschliches Gesicht, Person, Lächeln, Augenbraue enthält.&#10;&#10;Automatisch generierte Beschreibung">
            <a:extLst>
              <a:ext uri="{FF2B5EF4-FFF2-40B4-BE49-F238E27FC236}">
                <a16:creationId xmlns:a16="http://schemas.microsoft.com/office/drawing/2014/main" id="{00AFAB45-721A-C31B-CEF1-B154DE541C0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4399" y="890600"/>
            <a:ext cx="684610" cy="1027157"/>
          </a:xfrm>
          <a:prstGeom prst="rect">
            <a:avLst/>
          </a:prstGeom>
        </p:spPr>
      </p:pic>
      <p:sp>
        <p:nvSpPr>
          <p:cNvPr id="37" name="Text Placeholder 5">
            <a:extLst>
              <a:ext uri="{FF2B5EF4-FFF2-40B4-BE49-F238E27FC236}">
                <a16:creationId xmlns:a16="http://schemas.microsoft.com/office/drawing/2014/main" id="{CDC2BC6B-F89C-84E8-BC5A-88F5887C5AD0}"/>
              </a:ext>
            </a:extLst>
          </p:cNvPr>
          <p:cNvSpPr txBox="1">
            <a:spLocks/>
          </p:cNvSpPr>
          <p:nvPr/>
        </p:nvSpPr>
        <p:spPr bwMode="gray">
          <a:xfrm>
            <a:off x="527120" y="5183742"/>
            <a:ext cx="3431675" cy="153888"/>
          </a:xfrm>
          <a:prstGeom prst="rect">
            <a:avLst/>
          </a:prstGeom>
          <a:solidFill>
            <a:schemeClr val="tx1"/>
          </a:solidFill>
        </p:spPr>
        <p:txBody>
          <a:bodyPr vert="horz" wrap="square" lIns="72000" tIns="0" rIns="72000" bIns="0">
            <a:spAutoFit/>
          </a:bodyPr>
          <a:lstStyle>
            <a:lvl1pPr marL="0" indent="0" algn="l" defTabSz="685766" rtl="0" eaLnBrk="1" latinLnBrk="0" hangingPunct="1">
              <a:lnSpc>
                <a:spcPct val="100000"/>
              </a:lnSpc>
              <a:spcBef>
                <a:spcPts val="1000"/>
              </a:spcBef>
              <a:spcAft>
                <a:spcPts val="0"/>
              </a:spcAft>
              <a:buFont typeface="Arial" pitchFamily="34" charset="0"/>
              <a:buNone/>
              <a:defRPr sz="1100" b="1" kern="1200" cap="none" baseline="0">
                <a:solidFill>
                  <a:srgbClr val="000000"/>
                </a:solidFill>
                <a:latin typeface="Calibri" panose="020F0502020204030204" pitchFamily="34" charset="0"/>
                <a:ea typeface="+mn-ea"/>
                <a:cs typeface="Calibri" panose="020F0502020204030204" pitchFamily="34" charset="0"/>
              </a:defRPr>
            </a:lvl1pPr>
            <a:lvl2pPr marL="0" marR="0" indent="0" algn="l" defTabSz="685766" rtl="0" eaLnBrk="1" fontAlgn="auto" latinLnBrk="0" hangingPunct="1">
              <a:lnSpc>
                <a:spcPct val="100000"/>
              </a:lnSpc>
              <a:spcBef>
                <a:spcPts val="300"/>
              </a:spcBef>
              <a:spcAft>
                <a:spcPts val="0"/>
              </a:spcAft>
              <a:buClrTx/>
              <a:buSzTx/>
              <a:buFont typeface="Arial" pitchFamily="34" charset="0"/>
              <a:buNone/>
              <a:tabLst/>
              <a:defRPr sz="1000" kern="1200">
                <a:solidFill>
                  <a:srgbClr val="000000"/>
                </a:solidFill>
                <a:latin typeface="+mn-lt"/>
                <a:ea typeface="+mn-ea"/>
                <a:cs typeface="Calibri" panose="020F0502020204030204" pitchFamily="34" charset="0"/>
              </a:defRPr>
            </a:lvl2pPr>
            <a:lvl3pPr marL="137160" indent="-137160" algn="l" defTabSz="685766" rtl="0" eaLnBrk="1" latinLnBrk="0" hangingPunct="1">
              <a:lnSpc>
                <a:spcPct val="100000"/>
              </a:lnSpc>
              <a:spcBef>
                <a:spcPts val="300"/>
              </a:spcBef>
              <a:spcAft>
                <a:spcPts val="0"/>
              </a:spcAft>
              <a:buFont typeface="DWS Sans Light" panose="02010404010101010104" pitchFamily="50" charset="0"/>
              <a:buChar char="—"/>
              <a:defRPr sz="1000" kern="1200">
                <a:solidFill>
                  <a:srgbClr val="000000"/>
                </a:solidFill>
                <a:latin typeface="Calibri" panose="020F0502020204030204" pitchFamily="34" charset="0"/>
                <a:ea typeface="+mn-ea"/>
                <a:cs typeface="Calibri" panose="020F0502020204030204" pitchFamily="34" charset="0"/>
              </a:defRPr>
            </a:lvl3pPr>
            <a:lvl4pPr marL="274320" indent="-137160" algn="l" defTabSz="685766" rtl="0" eaLnBrk="1" latinLnBrk="0" hangingPunct="1">
              <a:lnSpc>
                <a:spcPct val="100000"/>
              </a:lnSpc>
              <a:spcBef>
                <a:spcPts val="300"/>
              </a:spcBef>
              <a:spcAft>
                <a:spcPts val="0"/>
              </a:spcAft>
              <a:buFont typeface="DWS Sans Light" panose="02010404010101010104" pitchFamily="50" charset="0"/>
              <a:buChar char="—"/>
              <a:defRPr sz="1000" kern="1200">
                <a:solidFill>
                  <a:srgbClr val="000000"/>
                </a:solidFill>
                <a:latin typeface="Calibri" panose="020F0502020204030204" pitchFamily="34" charset="0"/>
                <a:ea typeface="+mn-ea"/>
                <a:cs typeface="Calibri" panose="020F0502020204030204" pitchFamily="34" charset="0"/>
              </a:defRPr>
            </a:lvl4pPr>
            <a:lvl5pPr marL="411480" indent="-137160" algn="l" defTabSz="685766" rtl="0" eaLnBrk="1" latinLnBrk="0" hangingPunct="1">
              <a:lnSpc>
                <a:spcPct val="100000"/>
              </a:lnSpc>
              <a:spcBef>
                <a:spcPts val="300"/>
              </a:spcBef>
              <a:spcAft>
                <a:spcPts val="0"/>
              </a:spcAft>
              <a:buFont typeface="DWS Sans Light" panose="020B0404020101010102" pitchFamily="34" charset="0"/>
              <a:buChar char="—"/>
              <a:defRPr sz="1000" kern="1200">
                <a:solidFill>
                  <a:srgbClr val="000000"/>
                </a:solidFill>
                <a:latin typeface="Calibri" panose="020F0502020204030204" pitchFamily="34" charset="0"/>
                <a:ea typeface="+mn-ea"/>
                <a:cs typeface="Calibri" panose="020F0502020204030204" pitchFamily="34" charset="0"/>
              </a:defRPr>
            </a:lvl5pPr>
            <a:lvl6pPr marL="432000" indent="-144000" algn="l" defTabSz="685766" rtl="0" eaLnBrk="1" latinLnBrk="0" hangingPunct="1">
              <a:lnSpc>
                <a:spcPct val="100000"/>
              </a:lnSpc>
              <a:spcBef>
                <a:spcPts val="300"/>
              </a:spcBef>
              <a:spcAft>
                <a:spcPts val="0"/>
              </a:spcAft>
              <a:buFont typeface="DWS Sans Light" panose="020B0404020101010102" pitchFamily="34" charset="0"/>
              <a:buChar char="—"/>
              <a:defRPr sz="1000" kern="1200">
                <a:solidFill>
                  <a:schemeClr val="tx1"/>
                </a:solidFill>
                <a:latin typeface="+mn-lt"/>
                <a:ea typeface="+mn-ea"/>
                <a:cs typeface="+mn-cs"/>
              </a:defRPr>
            </a:lvl6pPr>
            <a:lvl7pPr marL="432000" indent="-144000" algn="l" defTabSz="685766" rtl="0" eaLnBrk="1" latinLnBrk="0" hangingPunct="1">
              <a:lnSpc>
                <a:spcPct val="100000"/>
              </a:lnSpc>
              <a:spcBef>
                <a:spcPts val="300"/>
              </a:spcBef>
              <a:spcAft>
                <a:spcPts val="0"/>
              </a:spcAft>
              <a:buFont typeface="DWS Sans Light" panose="020B0404020101010102" pitchFamily="34" charset="0"/>
              <a:buChar char="—"/>
              <a:defRPr sz="1000" kern="1200">
                <a:solidFill>
                  <a:schemeClr val="tx1"/>
                </a:solidFill>
                <a:latin typeface="+mn-lt"/>
                <a:ea typeface="+mn-ea"/>
                <a:cs typeface="+mn-cs"/>
              </a:defRPr>
            </a:lvl7pPr>
            <a:lvl8pPr marL="432000" indent="-144000" algn="l" defTabSz="685766" rtl="0" eaLnBrk="1" latinLnBrk="0" hangingPunct="1">
              <a:lnSpc>
                <a:spcPct val="100000"/>
              </a:lnSpc>
              <a:spcBef>
                <a:spcPts val="300"/>
              </a:spcBef>
              <a:spcAft>
                <a:spcPts val="0"/>
              </a:spcAft>
              <a:buFont typeface="DWS Sans Light" panose="020B0404020101010102" pitchFamily="34" charset="0"/>
              <a:buChar char="—"/>
              <a:defRPr sz="1000" kern="1200">
                <a:solidFill>
                  <a:schemeClr val="tx1"/>
                </a:solidFill>
                <a:latin typeface="+mn-lt"/>
                <a:ea typeface="+mn-ea"/>
                <a:cs typeface="+mn-cs"/>
              </a:defRPr>
            </a:lvl8pPr>
            <a:lvl9pPr marL="432000" indent="-144000" algn="l" defTabSz="685766" rtl="0" eaLnBrk="1" latinLnBrk="0" hangingPunct="1">
              <a:lnSpc>
                <a:spcPct val="100000"/>
              </a:lnSpc>
              <a:spcBef>
                <a:spcPts val="300"/>
              </a:spcBef>
              <a:spcAft>
                <a:spcPts val="0"/>
              </a:spcAft>
              <a:buFont typeface="DWS Sans Light" panose="020B0404020101010102" pitchFamily="34" charset="0"/>
              <a:buChar char="—"/>
              <a:defRPr sz="1000" kern="1200">
                <a:solidFill>
                  <a:schemeClr val="tx1"/>
                </a:solidFill>
                <a:latin typeface="+mn-lt"/>
                <a:ea typeface="+mn-ea"/>
                <a:cs typeface="+mn-cs"/>
              </a:defRPr>
            </a:lvl9pPr>
          </a:lstStyle>
          <a:p>
            <a:r>
              <a:rPr lang="it-IT" sz="1000" dirty="0">
                <a:latin typeface="DWS Sans Light" panose="02010404010101010104" pitchFamily="50" charset="0"/>
                <a:cs typeface="DWS Sans Light" panose="02010404010101010104" pitchFamily="50" charset="0"/>
              </a:rPr>
              <a:t>L’attuale rally dell’oro non è senza precedenti</a:t>
            </a:r>
          </a:p>
        </p:txBody>
      </p:sp>
      <p:sp>
        <p:nvSpPr>
          <p:cNvPr id="38" name="Text Placeholder 6">
            <a:extLst>
              <a:ext uri="{FF2B5EF4-FFF2-40B4-BE49-F238E27FC236}">
                <a16:creationId xmlns:a16="http://schemas.microsoft.com/office/drawing/2014/main" id="{397ABA2F-5470-DFA2-F4E2-1AD284A13AAB}"/>
              </a:ext>
            </a:extLst>
          </p:cNvPr>
          <p:cNvSpPr txBox="1">
            <a:spLocks/>
          </p:cNvSpPr>
          <p:nvPr/>
        </p:nvSpPr>
        <p:spPr bwMode="gray">
          <a:xfrm>
            <a:off x="522121" y="5367422"/>
            <a:ext cx="3211924" cy="107722"/>
          </a:xfrm>
          <a:prstGeom prst="rect">
            <a:avLst/>
          </a:prstGeom>
          <a:noFill/>
        </p:spPr>
        <p:txBody>
          <a:bodyPr vert="horz" wrap="square" lIns="72000" tIns="0" rIns="72000" bIns="0" rtlCol="0">
            <a:spAutoFit/>
          </a:bodyPr>
          <a:lstStyle>
            <a:lvl1pPr marL="0" indent="0" algn="l" defTabSz="685766" rtl="0" eaLnBrk="1" latinLnBrk="0" hangingPunct="1">
              <a:lnSpc>
                <a:spcPct val="100000"/>
              </a:lnSpc>
              <a:spcBef>
                <a:spcPts val="1000"/>
              </a:spcBef>
              <a:spcAft>
                <a:spcPts val="0"/>
              </a:spcAft>
              <a:buFont typeface="Arial" pitchFamily="34" charset="0"/>
              <a:buNone/>
              <a:defRPr lang="en-US" sz="1000" b="0" kern="1200" cap="none" baseline="0" dirty="0">
                <a:solidFill>
                  <a:srgbClr val="939494"/>
                </a:solidFill>
                <a:latin typeface="+mn-lt"/>
                <a:ea typeface="+mn-ea"/>
                <a:cs typeface="Calibri" panose="020F0502020204030204" pitchFamily="34" charset="0"/>
              </a:defRPr>
            </a:lvl1pPr>
            <a:lvl2pPr marL="0" marR="0" indent="0" algn="l" defTabSz="685766" rtl="0" eaLnBrk="1" fontAlgn="auto" latinLnBrk="0" hangingPunct="1">
              <a:lnSpc>
                <a:spcPct val="100000"/>
              </a:lnSpc>
              <a:spcBef>
                <a:spcPts val="300"/>
              </a:spcBef>
              <a:spcAft>
                <a:spcPts val="0"/>
              </a:spcAft>
              <a:buClrTx/>
              <a:buSzTx/>
              <a:buFont typeface="Arial" pitchFamily="34" charset="0"/>
              <a:buNone/>
              <a:tabLst/>
              <a:defRPr sz="1000" kern="1200">
                <a:solidFill>
                  <a:srgbClr val="000000"/>
                </a:solidFill>
                <a:latin typeface="+mn-lt"/>
                <a:ea typeface="+mn-ea"/>
                <a:cs typeface="Calibri" panose="020F0502020204030204" pitchFamily="34" charset="0"/>
              </a:defRPr>
            </a:lvl2pPr>
            <a:lvl3pPr marL="137160" indent="-137160" algn="l" defTabSz="685766" rtl="0" eaLnBrk="1" latinLnBrk="0" hangingPunct="1">
              <a:lnSpc>
                <a:spcPct val="100000"/>
              </a:lnSpc>
              <a:spcBef>
                <a:spcPts val="300"/>
              </a:spcBef>
              <a:spcAft>
                <a:spcPts val="0"/>
              </a:spcAft>
              <a:buFont typeface="DWS Sans Light" panose="02010404010101010104" pitchFamily="50" charset="0"/>
              <a:buChar char="—"/>
              <a:defRPr sz="1000" kern="1200">
                <a:solidFill>
                  <a:srgbClr val="000000"/>
                </a:solidFill>
                <a:latin typeface="Calibri" panose="020F0502020204030204" pitchFamily="34" charset="0"/>
                <a:ea typeface="+mn-ea"/>
                <a:cs typeface="Calibri" panose="020F0502020204030204" pitchFamily="34" charset="0"/>
              </a:defRPr>
            </a:lvl3pPr>
            <a:lvl4pPr marL="274320" indent="-137160" algn="l" defTabSz="685766" rtl="0" eaLnBrk="1" latinLnBrk="0" hangingPunct="1">
              <a:lnSpc>
                <a:spcPct val="100000"/>
              </a:lnSpc>
              <a:spcBef>
                <a:spcPts val="300"/>
              </a:spcBef>
              <a:spcAft>
                <a:spcPts val="0"/>
              </a:spcAft>
              <a:buFont typeface="DWS Sans Light" panose="02010404010101010104" pitchFamily="50" charset="0"/>
              <a:buChar char="—"/>
              <a:defRPr sz="1000" kern="1200">
                <a:solidFill>
                  <a:srgbClr val="000000"/>
                </a:solidFill>
                <a:latin typeface="Calibri" panose="020F0502020204030204" pitchFamily="34" charset="0"/>
                <a:ea typeface="+mn-ea"/>
                <a:cs typeface="Calibri" panose="020F0502020204030204" pitchFamily="34" charset="0"/>
              </a:defRPr>
            </a:lvl4pPr>
            <a:lvl5pPr marL="411480" indent="-137160" algn="l" defTabSz="685766" rtl="0" eaLnBrk="1" latinLnBrk="0" hangingPunct="1">
              <a:lnSpc>
                <a:spcPct val="100000"/>
              </a:lnSpc>
              <a:spcBef>
                <a:spcPts val="300"/>
              </a:spcBef>
              <a:spcAft>
                <a:spcPts val="0"/>
              </a:spcAft>
              <a:buFont typeface="DWS Sans Light" panose="020B0404020101010102" pitchFamily="34" charset="0"/>
              <a:buChar char="—"/>
              <a:defRPr sz="1000" kern="1200">
                <a:solidFill>
                  <a:srgbClr val="000000"/>
                </a:solidFill>
                <a:latin typeface="Calibri" panose="020F0502020204030204" pitchFamily="34" charset="0"/>
                <a:ea typeface="+mn-ea"/>
                <a:cs typeface="Calibri" panose="020F0502020204030204" pitchFamily="34" charset="0"/>
              </a:defRPr>
            </a:lvl5pPr>
            <a:lvl6pPr marL="432000" indent="-144000" algn="l" defTabSz="685766" rtl="0" eaLnBrk="1" latinLnBrk="0" hangingPunct="1">
              <a:lnSpc>
                <a:spcPct val="100000"/>
              </a:lnSpc>
              <a:spcBef>
                <a:spcPts val="300"/>
              </a:spcBef>
              <a:spcAft>
                <a:spcPts val="0"/>
              </a:spcAft>
              <a:buFont typeface="DWS Sans Light" panose="020B0404020101010102" pitchFamily="34" charset="0"/>
              <a:buChar char="—"/>
              <a:defRPr sz="1000" kern="1200">
                <a:solidFill>
                  <a:schemeClr val="tx1"/>
                </a:solidFill>
                <a:latin typeface="+mn-lt"/>
                <a:ea typeface="+mn-ea"/>
                <a:cs typeface="+mn-cs"/>
              </a:defRPr>
            </a:lvl6pPr>
            <a:lvl7pPr marL="432000" indent="-144000" algn="l" defTabSz="685766" rtl="0" eaLnBrk="1" latinLnBrk="0" hangingPunct="1">
              <a:lnSpc>
                <a:spcPct val="100000"/>
              </a:lnSpc>
              <a:spcBef>
                <a:spcPts val="300"/>
              </a:spcBef>
              <a:spcAft>
                <a:spcPts val="0"/>
              </a:spcAft>
              <a:buFont typeface="DWS Sans Light" panose="020B0404020101010102" pitchFamily="34" charset="0"/>
              <a:buChar char="—"/>
              <a:defRPr sz="1000" kern="1200">
                <a:solidFill>
                  <a:schemeClr val="tx1"/>
                </a:solidFill>
                <a:latin typeface="+mn-lt"/>
                <a:ea typeface="+mn-ea"/>
                <a:cs typeface="+mn-cs"/>
              </a:defRPr>
            </a:lvl7pPr>
            <a:lvl8pPr marL="432000" indent="-144000" algn="l" defTabSz="685766" rtl="0" eaLnBrk="1" latinLnBrk="0" hangingPunct="1">
              <a:lnSpc>
                <a:spcPct val="100000"/>
              </a:lnSpc>
              <a:spcBef>
                <a:spcPts val="300"/>
              </a:spcBef>
              <a:spcAft>
                <a:spcPts val="0"/>
              </a:spcAft>
              <a:buFont typeface="DWS Sans Light" panose="020B0404020101010102" pitchFamily="34" charset="0"/>
              <a:buChar char="—"/>
              <a:defRPr sz="1000" kern="1200">
                <a:solidFill>
                  <a:schemeClr val="tx1"/>
                </a:solidFill>
                <a:latin typeface="+mn-lt"/>
                <a:ea typeface="+mn-ea"/>
                <a:cs typeface="+mn-cs"/>
              </a:defRPr>
            </a:lvl8pPr>
            <a:lvl9pPr marL="432000" indent="-144000" algn="l" defTabSz="685766" rtl="0" eaLnBrk="1" latinLnBrk="0" hangingPunct="1">
              <a:lnSpc>
                <a:spcPct val="100000"/>
              </a:lnSpc>
              <a:spcBef>
                <a:spcPts val="300"/>
              </a:spcBef>
              <a:spcAft>
                <a:spcPts val="0"/>
              </a:spcAft>
              <a:buFont typeface="DWS Sans Light" panose="020B0404020101010102" pitchFamily="34" charset="0"/>
              <a:buChar char="—"/>
              <a:defRPr sz="1000" kern="1200">
                <a:solidFill>
                  <a:schemeClr val="tx1"/>
                </a:solidFill>
                <a:latin typeface="+mn-lt"/>
                <a:ea typeface="+mn-ea"/>
                <a:cs typeface="+mn-cs"/>
              </a:defRPr>
            </a:lvl9pPr>
          </a:lstStyle>
          <a:p>
            <a:r>
              <a:rPr lang="it-IT" sz="700" dirty="0">
                <a:solidFill>
                  <a:schemeClr val="bg2"/>
                </a:solidFill>
                <a:latin typeface="DWS Sans Light" panose="02010404010101010104" pitchFamily="50" charset="0"/>
                <a:cs typeface="DWS Sans Light" panose="02010404010101010104" pitchFamily="50" charset="0"/>
              </a:rPr>
              <a:t>Grandi rialzi storici del prezzo dell’oro, indicizzati a 100</a:t>
            </a:r>
          </a:p>
        </p:txBody>
      </p:sp>
      <p:sp>
        <p:nvSpPr>
          <p:cNvPr id="41" name="Rechteck 40">
            <a:extLst>
              <a:ext uri="{FF2B5EF4-FFF2-40B4-BE49-F238E27FC236}">
                <a16:creationId xmlns:a16="http://schemas.microsoft.com/office/drawing/2014/main" id="{1A31AC44-FD46-5D86-693B-72CCF35DDFCD}"/>
              </a:ext>
            </a:extLst>
          </p:cNvPr>
          <p:cNvSpPr/>
          <p:nvPr/>
        </p:nvSpPr>
        <p:spPr>
          <a:xfrm>
            <a:off x="687667" y="7319690"/>
            <a:ext cx="3285764" cy="288147"/>
          </a:xfrm>
          <a:prstGeom prst="rect">
            <a:avLst/>
          </a:prstGeom>
        </p:spPr>
        <p:txBody>
          <a:bodyPr wrap="square" lIns="0" tIns="36000" rIns="0" bIns="36000">
            <a:spAutoFit/>
          </a:bodyPr>
          <a:lstStyle/>
          <a:p>
            <a:r>
              <a:rPr lang="en-US" sz="700" dirty="0">
                <a:solidFill>
                  <a:schemeClr val="accent3"/>
                </a:solidFill>
                <a:latin typeface="DWS Sans Light" panose="02010404010101010104" pitchFamily="50" charset="0"/>
              </a:rPr>
              <a:t>* GFC: Global Financial Crisis; Sources: Bloomberg DWS Investment GmbH, </a:t>
            </a:r>
            <a:br>
              <a:rPr lang="en-US" sz="700" dirty="0">
                <a:solidFill>
                  <a:schemeClr val="accent3"/>
                </a:solidFill>
                <a:latin typeface="DWS Sans Light" panose="02010404010101010104" pitchFamily="50" charset="0"/>
              </a:rPr>
            </a:br>
            <a:r>
              <a:rPr lang="en-US" sz="700" dirty="0">
                <a:solidFill>
                  <a:schemeClr val="accent3"/>
                </a:solidFill>
                <a:latin typeface="DWS Sans Light" panose="02010404010101010104" pitchFamily="50" charset="0"/>
              </a:rPr>
              <a:t>DWS Investment GmbH, </a:t>
            </a:r>
            <a:r>
              <a:rPr lang="en-US" sz="700" dirty="0" err="1">
                <a:solidFill>
                  <a:schemeClr val="accent3"/>
                </a:solidFill>
                <a:latin typeface="DWS Sans Light" panose="02010404010101010104" pitchFamily="50" charset="0"/>
              </a:rPr>
              <a:t>dati</a:t>
            </a:r>
            <a:r>
              <a:rPr lang="en-US" sz="700" dirty="0">
                <a:solidFill>
                  <a:schemeClr val="accent3"/>
                </a:solidFill>
                <a:latin typeface="DWS Sans Light" panose="02010404010101010104" pitchFamily="50" charset="0"/>
              </a:rPr>
              <a:t> al 31.01.2026</a:t>
            </a:r>
          </a:p>
        </p:txBody>
      </p:sp>
      <p:grpSp>
        <p:nvGrpSpPr>
          <p:cNvPr id="118" name="Gruppieren 117">
            <a:extLst>
              <a:ext uri="{FF2B5EF4-FFF2-40B4-BE49-F238E27FC236}">
                <a16:creationId xmlns:a16="http://schemas.microsoft.com/office/drawing/2014/main" id="{6C9F5914-FAAC-20A5-6322-4FE9222D86EF}"/>
              </a:ext>
            </a:extLst>
          </p:cNvPr>
          <p:cNvGrpSpPr/>
          <p:nvPr/>
        </p:nvGrpSpPr>
        <p:grpSpPr>
          <a:xfrm>
            <a:off x="4274980" y="2970346"/>
            <a:ext cx="740611" cy="754216"/>
            <a:chOff x="3752560" y="1804403"/>
            <a:chExt cx="740610" cy="754216"/>
          </a:xfrm>
        </p:grpSpPr>
        <p:grpSp>
          <p:nvGrpSpPr>
            <p:cNvPr id="119" name="Group 56">
              <a:extLst>
                <a:ext uri="{FF2B5EF4-FFF2-40B4-BE49-F238E27FC236}">
                  <a16:creationId xmlns:a16="http://schemas.microsoft.com/office/drawing/2014/main" id="{ED779AF1-F116-96D3-682D-156DC7C12A62}"/>
                </a:ext>
              </a:extLst>
            </p:cNvPr>
            <p:cNvGrpSpPr/>
            <p:nvPr/>
          </p:nvGrpSpPr>
          <p:grpSpPr>
            <a:xfrm>
              <a:off x="3752560" y="1804403"/>
              <a:ext cx="740610" cy="457927"/>
              <a:chOff x="282079" y="1425917"/>
              <a:chExt cx="1106043" cy="688472"/>
            </a:xfrm>
          </p:grpSpPr>
          <p:sp>
            <p:nvSpPr>
              <p:cNvPr id="125" name="Rechteck 272">
                <a:extLst>
                  <a:ext uri="{FF2B5EF4-FFF2-40B4-BE49-F238E27FC236}">
                    <a16:creationId xmlns:a16="http://schemas.microsoft.com/office/drawing/2014/main" id="{86C7DB9C-E393-0F6B-72FB-A6E15DFFB980}"/>
                  </a:ext>
                </a:extLst>
              </p:cNvPr>
              <p:cNvSpPr/>
              <p:nvPr/>
            </p:nvSpPr>
            <p:spPr>
              <a:xfrm>
                <a:off x="282079" y="1912223"/>
                <a:ext cx="1106043" cy="202166"/>
              </a:xfrm>
              <a:prstGeom prst="rect">
                <a:avLst/>
              </a:prstGeom>
              <a:noFill/>
              <a:ln w="25400" cap="flat" cmpd="sng" algn="ctr">
                <a:noFill/>
                <a:prstDash val="solid"/>
              </a:ln>
              <a:effectLst/>
            </p:spPr>
            <p:txBody>
              <a:bodyPr lIns="72000" tIns="72000" rIns="72000" bIns="72000" rtlCol="0" anchor="ctr"/>
              <a:lstStyle/>
              <a:p>
                <a:pPr algn="ctr">
                  <a:spcBef>
                    <a:spcPts val="600"/>
                  </a:spcBef>
                  <a:buClr>
                    <a:schemeClr val="bg1"/>
                  </a:buClr>
                </a:pPr>
                <a:r>
                  <a:rPr lang="en-GB" sz="700" dirty="0">
                    <a:solidFill>
                      <a:schemeClr val="bg2"/>
                    </a:solidFill>
                    <a:latin typeface="DWS Sans Light" panose="02010404010101010104" pitchFamily="50" charset="0"/>
                    <a:cs typeface="DWS Sans Light" panose="02010404010101010104" pitchFamily="50" charset="0"/>
                  </a:rPr>
                  <a:t>breve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p:txBody>
          </p:sp>
          <p:grpSp>
            <p:nvGrpSpPr>
              <p:cNvPr id="126" name="Gruppieren 348">
                <a:extLst>
                  <a:ext uri="{FF2B5EF4-FFF2-40B4-BE49-F238E27FC236}">
                    <a16:creationId xmlns:a16="http://schemas.microsoft.com/office/drawing/2014/main" id="{CBC192C3-5843-48A1-9249-530D0367FB70}"/>
                  </a:ext>
                </a:extLst>
              </p:cNvPr>
              <p:cNvGrpSpPr/>
              <p:nvPr/>
            </p:nvGrpSpPr>
            <p:grpSpPr>
              <a:xfrm rot="3291935">
                <a:off x="788748" y="1645811"/>
                <a:ext cx="84660" cy="367354"/>
                <a:chOff x="1662113" y="1735139"/>
                <a:chExt cx="192088" cy="833505"/>
              </a:xfrm>
            </p:grpSpPr>
            <p:grpSp>
              <p:nvGrpSpPr>
                <p:cNvPr id="516" name="Gruppieren 349">
                  <a:extLst>
                    <a:ext uri="{FF2B5EF4-FFF2-40B4-BE49-F238E27FC236}">
                      <a16:creationId xmlns:a16="http://schemas.microsoft.com/office/drawing/2014/main" id="{E88E3FD3-F6BF-C428-ECF8-CAB5F4A586A6}"/>
                    </a:ext>
                  </a:extLst>
                </p:cNvPr>
                <p:cNvGrpSpPr/>
                <p:nvPr/>
              </p:nvGrpSpPr>
              <p:grpSpPr>
                <a:xfrm>
                  <a:off x="1662113" y="1735139"/>
                  <a:ext cx="192088" cy="506413"/>
                  <a:chOff x="1662113" y="1735139"/>
                  <a:chExt cx="192088" cy="506413"/>
                </a:xfrm>
              </p:grpSpPr>
              <p:sp>
                <p:nvSpPr>
                  <p:cNvPr id="524" name="Freeform 10">
                    <a:extLst>
                      <a:ext uri="{FF2B5EF4-FFF2-40B4-BE49-F238E27FC236}">
                        <a16:creationId xmlns:a16="http://schemas.microsoft.com/office/drawing/2014/main" id="{684A11FA-542C-B8F0-987C-CBBD483FD053}"/>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solidFill>
                    <a:srgbClr val="B7C5C8"/>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525" name="Freeform 12">
                    <a:extLst>
                      <a:ext uri="{FF2B5EF4-FFF2-40B4-BE49-F238E27FC236}">
                        <a16:creationId xmlns:a16="http://schemas.microsoft.com/office/drawing/2014/main" id="{3CA5DB72-DBAB-B76E-1692-23B0DFA59385}"/>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526" name="Oval 13">
                    <a:extLst>
                      <a:ext uri="{FF2B5EF4-FFF2-40B4-BE49-F238E27FC236}">
                        <a16:creationId xmlns:a16="http://schemas.microsoft.com/office/drawing/2014/main" id="{F70CF12E-236F-CEE0-9BCD-0835348DF09C}"/>
                      </a:ext>
                    </a:extLst>
                  </p:cNvPr>
                  <p:cNvSpPr>
                    <a:spLocks noChangeArrowheads="1"/>
                  </p:cNvSpPr>
                  <p:nvPr/>
                </p:nvSpPr>
                <p:spPr bwMode="auto">
                  <a:xfrm>
                    <a:off x="1730375" y="2120902"/>
                    <a:ext cx="60325" cy="60325"/>
                  </a:xfrm>
                  <a:prstGeom prst="ellipse">
                    <a:avLst/>
                  </a:prstGeom>
                  <a:solidFill>
                    <a:srgbClr val="6D828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527" name="Freeform 11">
                    <a:extLst>
                      <a:ext uri="{FF2B5EF4-FFF2-40B4-BE49-F238E27FC236}">
                        <a16:creationId xmlns:a16="http://schemas.microsoft.com/office/drawing/2014/main" id="{B6513433-0790-4FB0-E377-6292923C1D87}"/>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solidFill>
                    <a:srgbClr val="6D828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grpSp>
            <p:grpSp>
              <p:nvGrpSpPr>
                <p:cNvPr id="518" name="Gruppieren 350">
                  <a:extLst>
                    <a:ext uri="{FF2B5EF4-FFF2-40B4-BE49-F238E27FC236}">
                      <a16:creationId xmlns:a16="http://schemas.microsoft.com/office/drawing/2014/main" id="{33DE22B3-252B-3EDD-81FD-0925057CFF35}"/>
                    </a:ext>
                  </a:extLst>
                </p:cNvPr>
                <p:cNvGrpSpPr/>
                <p:nvPr/>
              </p:nvGrpSpPr>
              <p:grpSpPr>
                <a:xfrm flipV="1">
                  <a:off x="1662113" y="2062231"/>
                  <a:ext cx="192088" cy="506413"/>
                  <a:chOff x="1662113" y="1735139"/>
                  <a:chExt cx="192088" cy="506413"/>
                </a:xfrm>
                <a:noFill/>
              </p:grpSpPr>
              <p:sp>
                <p:nvSpPr>
                  <p:cNvPr id="519" name="Freeform 10">
                    <a:extLst>
                      <a:ext uri="{FF2B5EF4-FFF2-40B4-BE49-F238E27FC236}">
                        <a16:creationId xmlns:a16="http://schemas.microsoft.com/office/drawing/2014/main" id="{DDC8D254-A091-75E1-2FF4-816EC57FE6BD}"/>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520" name="Freeform 11">
                    <a:extLst>
                      <a:ext uri="{FF2B5EF4-FFF2-40B4-BE49-F238E27FC236}">
                        <a16:creationId xmlns:a16="http://schemas.microsoft.com/office/drawing/2014/main" id="{63082B64-1FF7-49FC-7451-4FD7AC38B5BD}"/>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521" name="Freeform 12">
                    <a:extLst>
                      <a:ext uri="{FF2B5EF4-FFF2-40B4-BE49-F238E27FC236}">
                        <a16:creationId xmlns:a16="http://schemas.microsoft.com/office/drawing/2014/main" id="{0459C981-4B90-B43D-2BA4-F1343BA86C46}"/>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522" name="Oval 13">
                    <a:extLst>
                      <a:ext uri="{FF2B5EF4-FFF2-40B4-BE49-F238E27FC236}">
                        <a16:creationId xmlns:a16="http://schemas.microsoft.com/office/drawing/2014/main" id="{F1B09E9D-B272-1C24-AFF1-4884BDD75FA3}"/>
                      </a:ext>
                    </a:extLst>
                  </p:cNvPr>
                  <p:cNvSpPr>
                    <a:spLocks noChangeArrowheads="1"/>
                  </p:cNvSpPr>
                  <p:nvPr/>
                </p:nvSpPr>
                <p:spPr bwMode="auto">
                  <a:xfrm>
                    <a:off x="1730375" y="2120902"/>
                    <a:ext cx="60325" cy="603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grpSp>
          </p:grpSp>
          <p:grpSp>
            <p:nvGrpSpPr>
              <p:cNvPr id="127" name="Gruppieren 359">
                <a:extLst>
                  <a:ext uri="{FF2B5EF4-FFF2-40B4-BE49-F238E27FC236}">
                    <a16:creationId xmlns:a16="http://schemas.microsoft.com/office/drawing/2014/main" id="{6D919A0E-CB97-CE94-8F93-14AE3B0395B3}"/>
                  </a:ext>
                </a:extLst>
              </p:cNvPr>
              <p:cNvGrpSpPr/>
              <p:nvPr/>
            </p:nvGrpSpPr>
            <p:grpSpPr>
              <a:xfrm>
                <a:off x="431540" y="1425917"/>
                <a:ext cx="817200" cy="412452"/>
                <a:chOff x="431540" y="1425917"/>
                <a:chExt cx="817200" cy="412452"/>
              </a:xfrm>
            </p:grpSpPr>
            <p:sp>
              <p:nvSpPr>
                <p:cNvPr id="512" name="Freeform 11">
                  <a:extLst>
                    <a:ext uri="{FF2B5EF4-FFF2-40B4-BE49-F238E27FC236}">
                      <a16:creationId xmlns:a16="http://schemas.microsoft.com/office/drawing/2014/main" id="{84F3E67B-3C61-9395-A212-35B126916EF7}"/>
                    </a:ext>
                  </a:extLst>
                </p:cNvPr>
                <p:cNvSpPr>
                  <a:spLocks/>
                </p:cNvSpPr>
                <p:nvPr/>
              </p:nvSpPr>
              <p:spPr bwMode="auto">
                <a:xfrm>
                  <a:off x="431540" y="1487276"/>
                  <a:ext cx="246261" cy="351093"/>
                </a:xfrm>
                <a:custGeom>
                  <a:avLst/>
                  <a:gdLst>
                    <a:gd name="T0" fmla="*/ 160 w 378"/>
                    <a:gd name="T1" fmla="*/ 534 h 534"/>
                    <a:gd name="T2" fmla="*/ 378 w 378"/>
                    <a:gd name="T3" fmla="*/ 139 h 534"/>
                    <a:gd name="T4" fmla="*/ 298 w 378"/>
                    <a:gd name="T5" fmla="*/ 0 h 534"/>
                    <a:gd name="T6" fmla="*/ 0 w 378"/>
                    <a:gd name="T7" fmla="*/ 534 h 534"/>
                    <a:gd name="T8" fmla="*/ 160 w 378"/>
                    <a:gd name="T9" fmla="*/ 534 h 534"/>
                  </a:gdLst>
                  <a:ahLst/>
                  <a:cxnLst>
                    <a:cxn ang="0">
                      <a:pos x="T0" y="T1"/>
                    </a:cxn>
                    <a:cxn ang="0">
                      <a:pos x="T2" y="T3"/>
                    </a:cxn>
                    <a:cxn ang="0">
                      <a:pos x="T4" y="T5"/>
                    </a:cxn>
                    <a:cxn ang="0">
                      <a:pos x="T6" y="T7"/>
                    </a:cxn>
                    <a:cxn ang="0">
                      <a:pos x="T8" y="T9"/>
                    </a:cxn>
                  </a:cxnLst>
                  <a:rect l="0" t="0" r="r" b="b"/>
                  <a:pathLst>
                    <a:path w="378" h="534">
                      <a:moveTo>
                        <a:pt x="160" y="534"/>
                      </a:moveTo>
                      <a:cubicBezTo>
                        <a:pt x="160" y="367"/>
                        <a:pt x="247" y="221"/>
                        <a:pt x="378" y="139"/>
                      </a:cubicBezTo>
                      <a:cubicBezTo>
                        <a:pt x="298" y="0"/>
                        <a:pt x="298" y="0"/>
                        <a:pt x="298" y="0"/>
                      </a:cubicBezTo>
                      <a:cubicBezTo>
                        <a:pt x="119" y="111"/>
                        <a:pt x="0" y="308"/>
                        <a:pt x="0" y="534"/>
                      </a:cubicBezTo>
                      <a:lnTo>
                        <a:pt x="160" y="534"/>
                      </a:ln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513" name="Freeform 12">
                  <a:extLst>
                    <a:ext uri="{FF2B5EF4-FFF2-40B4-BE49-F238E27FC236}">
                      <a16:creationId xmlns:a16="http://schemas.microsoft.com/office/drawing/2014/main" id="{F15E33EF-B896-BEA4-433C-90967523F27E}"/>
                    </a:ext>
                  </a:extLst>
                </p:cNvPr>
                <p:cNvSpPr>
                  <a:spLocks/>
                </p:cNvSpPr>
                <p:nvPr/>
              </p:nvSpPr>
              <p:spPr bwMode="auto">
                <a:xfrm>
                  <a:off x="645883" y="1425917"/>
                  <a:ext cx="388514" cy="140878"/>
                </a:xfrm>
                <a:custGeom>
                  <a:avLst/>
                  <a:gdLst>
                    <a:gd name="T0" fmla="*/ 80 w 596"/>
                    <a:gd name="T1" fmla="*/ 214 h 214"/>
                    <a:gd name="T2" fmla="*/ 298 w 596"/>
                    <a:gd name="T3" fmla="*/ 160 h 214"/>
                    <a:gd name="T4" fmla="*/ 516 w 596"/>
                    <a:gd name="T5" fmla="*/ 214 h 214"/>
                    <a:gd name="T6" fmla="*/ 596 w 596"/>
                    <a:gd name="T7" fmla="*/ 75 h 214"/>
                    <a:gd name="T8" fmla="*/ 298 w 596"/>
                    <a:gd name="T9" fmla="*/ 0 h 214"/>
                    <a:gd name="T10" fmla="*/ 0 w 596"/>
                    <a:gd name="T11" fmla="*/ 75 h 214"/>
                    <a:gd name="T12" fmla="*/ 80 w 596"/>
                    <a:gd name="T13" fmla="*/ 214 h 214"/>
                  </a:gdLst>
                  <a:ahLst/>
                  <a:cxnLst>
                    <a:cxn ang="0">
                      <a:pos x="T0" y="T1"/>
                    </a:cxn>
                    <a:cxn ang="0">
                      <a:pos x="T2" y="T3"/>
                    </a:cxn>
                    <a:cxn ang="0">
                      <a:pos x="T4" y="T5"/>
                    </a:cxn>
                    <a:cxn ang="0">
                      <a:pos x="T6" y="T7"/>
                    </a:cxn>
                    <a:cxn ang="0">
                      <a:pos x="T8" y="T9"/>
                    </a:cxn>
                    <a:cxn ang="0">
                      <a:pos x="T10" y="T11"/>
                    </a:cxn>
                    <a:cxn ang="0">
                      <a:pos x="T12" y="T13"/>
                    </a:cxn>
                  </a:cxnLst>
                  <a:rect l="0" t="0" r="r" b="b"/>
                  <a:pathLst>
                    <a:path w="596" h="214">
                      <a:moveTo>
                        <a:pt x="80" y="214"/>
                      </a:moveTo>
                      <a:cubicBezTo>
                        <a:pt x="145" y="179"/>
                        <a:pt x="219" y="160"/>
                        <a:pt x="298" y="160"/>
                      </a:cubicBezTo>
                      <a:cubicBezTo>
                        <a:pt x="377" y="160"/>
                        <a:pt x="451" y="179"/>
                        <a:pt x="516" y="214"/>
                      </a:cubicBezTo>
                      <a:cubicBezTo>
                        <a:pt x="596" y="75"/>
                        <a:pt x="596" y="75"/>
                        <a:pt x="596" y="75"/>
                      </a:cubicBezTo>
                      <a:cubicBezTo>
                        <a:pt x="507" y="27"/>
                        <a:pt x="406" y="0"/>
                        <a:pt x="298" y="0"/>
                      </a:cubicBezTo>
                      <a:cubicBezTo>
                        <a:pt x="190" y="0"/>
                        <a:pt x="89" y="27"/>
                        <a:pt x="0" y="75"/>
                      </a:cubicBezTo>
                      <a:lnTo>
                        <a:pt x="80" y="214"/>
                      </a:ln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514" name="Freeform 13">
                  <a:extLst>
                    <a:ext uri="{FF2B5EF4-FFF2-40B4-BE49-F238E27FC236}">
                      <a16:creationId xmlns:a16="http://schemas.microsoft.com/office/drawing/2014/main" id="{D8D90729-EAB6-6951-3BF7-7D3F1AA04D07}"/>
                    </a:ext>
                  </a:extLst>
                </p:cNvPr>
                <p:cNvSpPr>
                  <a:spLocks/>
                </p:cNvSpPr>
                <p:nvPr/>
              </p:nvSpPr>
              <p:spPr bwMode="auto">
                <a:xfrm>
                  <a:off x="1002479" y="1487276"/>
                  <a:ext cx="246261" cy="351093"/>
                </a:xfrm>
                <a:custGeom>
                  <a:avLst/>
                  <a:gdLst>
                    <a:gd name="T0" fmla="*/ 80 w 378"/>
                    <a:gd name="T1" fmla="*/ 0 h 534"/>
                    <a:gd name="T2" fmla="*/ 0 w 378"/>
                    <a:gd name="T3" fmla="*/ 139 h 534"/>
                    <a:gd name="T4" fmla="*/ 218 w 378"/>
                    <a:gd name="T5" fmla="*/ 534 h 534"/>
                    <a:gd name="T6" fmla="*/ 378 w 378"/>
                    <a:gd name="T7" fmla="*/ 534 h 534"/>
                    <a:gd name="T8" fmla="*/ 80 w 378"/>
                    <a:gd name="T9" fmla="*/ 0 h 534"/>
                  </a:gdLst>
                  <a:ahLst/>
                  <a:cxnLst>
                    <a:cxn ang="0">
                      <a:pos x="T0" y="T1"/>
                    </a:cxn>
                    <a:cxn ang="0">
                      <a:pos x="T2" y="T3"/>
                    </a:cxn>
                    <a:cxn ang="0">
                      <a:pos x="T4" y="T5"/>
                    </a:cxn>
                    <a:cxn ang="0">
                      <a:pos x="T6" y="T7"/>
                    </a:cxn>
                    <a:cxn ang="0">
                      <a:pos x="T8" y="T9"/>
                    </a:cxn>
                  </a:cxnLst>
                  <a:rect l="0" t="0" r="r" b="b"/>
                  <a:pathLst>
                    <a:path w="378" h="534">
                      <a:moveTo>
                        <a:pt x="80" y="0"/>
                      </a:moveTo>
                      <a:cubicBezTo>
                        <a:pt x="0" y="139"/>
                        <a:pt x="0" y="139"/>
                        <a:pt x="0" y="139"/>
                      </a:cubicBezTo>
                      <a:cubicBezTo>
                        <a:pt x="131" y="221"/>
                        <a:pt x="218" y="367"/>
                        <a:pt x="218" y="534"/>
                      </a:cubicBezTo>
                      <a:cubicBezTo>
                        <a:pt x="378" y="534"/>
                        <a:pt x="378" y="534"/>
                        <a:pt x="378" y="534"/>
                      </a:cubicBezTo>
                      <a:cubicBezTo>
                        <a:pt x="378" y="308"/>
                        <a:pt x="259" y="111"/>
                        <a:pt x="80" y="0"/>
                      </a:cubicBezTo>
                      <a:close/>
                    </a:path>
                  </a:pathLst>
                </a:custGeom>
                <a:solidFill>
                  <a:schemeClr val="tx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515" name="Freihandform: Form 363">
                  <a:extLst>
                    <a:ext uri="{FF2B5EF4-FFF2-40B4-BE49-F238E27FC236}">
                      <a16:creationId xmlns:a16="http://schemas.microsoft.com/office/drawing/2014/main" id="{79085FDD-FB35-25F1-2210-6D4BA58C375D}"/>
                    </a:ext>
                  </a:extLst>
                </p:cNvPr>
                <p:cNvSpPr>
                  <a:spLocks/>
                </p:cNvSpPr>
                <p:nvPr/>
              </p:nvSpPr>
              <p:spPr bwMode="auto">
                <a:xfrm>
                  <a:off x="556734" y="1552212"/>
                  <a:ext cx="566812" cy="286157"/>
                </a:xfrm>
                <a:custGeom>
                  <a:avLst/>
                  <a:gdLst>
                    <a:gd name="connsiteX0" fmla="*/ 283406 w 566812"/>
                    <a:gd name="connsiteY0" fmla="*/ 0 h 286157"/>
                    <a:gd name="connsiteX1" fmla="*/ 566812 w 566812"/>
                    <a:gd name="connsiteY1" fmla="*/ 286157 h 286157"/>
                    <a:gd name="connsiteX2" fmla="*/ 506571 w 566812"/>
                    <a:gd name="connsiteY2" fmla="*/ 286157 h 286157"/>
                    <a:gd name="connsiteX3" fmla="*/ 283406 w 566812"/>
                    <a:gd name="connsiteY3" fmla="*/ 60826 h 286157"/>
                    <a:gd name="connsiteX4" fmla="*/ 60241 w 566812"/>
                    <a:gd name="connsiteY4" fmla="*/ 286157 h 286157"/>
                    <a:gd name="connsiteX5" fmla="*/ 0 w 566812"/>
                    <a:gd name="connsiteY5" fmla="*/ 286157 h 286157"/>
                    <a:gd name="connsiteX6" fmla="*/ 283406 w 566812"/>
                    <a:gd name="connsiteY6" fmla="*/ 0 h 28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812" h="286157">
                      <a:moveTo>
                        <a:pt x="283406" y="0"/>
                      </a:moveTo>
                      <a:cubicBezTo>
                        <a:pt x="439768" y="0"/>
                        <a:pt x="566812" y="128277"/>
                        <a:pt x="566812" y="286157"/>
                      </a:cubicBezTo>
                      <a:lnTo>
                        <a:pt x="506571" y="286157"/>
                      </a:lnTo>
                      <a:cubicBezTo>
                        <a:pt x="506571" y="161837"/>
                        <a:pt x="406532" y="60826"/>
                        <a:pt x="283406" y="60826"/>
                      </a:cubicBezTo>
                      <a:cubicBezTo>
                        <a:pt x="160281" y="60826"/>
                        <a:pt x="60241" y="161837"/>
                        <a:pt x="60241" y="286157"/>
                      </a:cubicBezTo>
                      <a:lnTo>
                        <a:pt x="0" y="286157"/>
                      </a:lnTo>
                      <a:cubicBezTo>
                        <a:pt x="0" y="128277"/>
                        <a:pt x="127044" y="0"/>
                        <a:pt x="283406" y="0"/>
                      </a:cubicBez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grpSp>
        </p:grpSp>
        <p:grpSp>
          <p:nvGrpSpPr>
            <p:cNvPr id="120" name="Group 425">
              <a:extLst>
                <a:ext uri="{FF2B5EF4-FFF2-40B4-BE49-F238E27FC236}">
                  <a16:creationId xmlns:a16="http://schemas.microsoft.com/office/drawing/2014/main" id="{0898D430-47ED-69A9-3FE6-ADBAFEED968B}"/>
                </a:ext>
              </a:extLst>
            </p:cNvPr>
            <p:cNvGrpSpPr/>
            <p:nvPr/>
          </p:nvGrpSpPr>
          <p:grpSpPr>
            <a:xfrm>
              <a:off x="3789122" y="2316624"/>
              <a:ext cx="693176" cy="241995"/>
              <a:chOff x="535391" y="3651542"/>
              <a:chExt cx="839088" cy="301043"/>
            </a:xfrm>
          </p:grpSpPr>
          <p:sp>
            <p:nvSpPr>
              <p:cNvPr id="121" name="Rechteck 273">
                <a:extLst>
                  <a:ext uri="{FF2B5EF4-FFF2-40B4-BE49-F238E27FC236}">
                    <a16:creationId xmlns:a16="http://schemas.microsoft.com/office/drawing/2014/main" id="{6253EF24-8492-B600-1CC5-CD94E6767EC1}"/>
                  </a:ext>
                </a:extLst>
              </p:cNvPr>
              <p:cNvSpPr/>
              <p:nvPr/>
            </p:nvSpPr>
            <p:spPr>
              <a:xfrm>
                <a:off x="535391" y="3725973"/>
                <a:ext cx="839088"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bg1"/>
                  </a:buClr>
                </a:pPr>
                <a:r>
                  <a:rPr lang="en-GB" sz="700" dirty="0" err="1">
                    <a:solidFill>
                      <a:schemeClr val="bg2"/>
                    </a:solidFill>
                    <a:latin typeface="DWS Sans Light" panose="02010404010101010104" pitchFamily="50" charset="0"/>
                    <a:cs typeface="DWS Sans Light" panose="02010404010101010104" pitchFamily="50" charset="0"/>
                  </a:rPr>
                  <a:t>lungo</a:t>
                </a:r>
                <a:r>
                  <a:rPr lang="en-GB" sz="700" dirty="0">
                    <a:solidFill>
                      <a:schemeClr val="bg2"/>
                    </a:solidFill>
                    <a:latin typeface="DWS Sans Light" panose="02010404010101010104" pitchFamily="50" charset="0"/>
                    <a:cs typeface="DWS Sans Light" panose="02010404010101010104" pitchFamily="50" charset="0"/>
                  </a:rPr>
                  <a:t>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p:txBody>
          </p:sp>
          <p:sp>
            <p:nvSpPr>
              <p:cNvPr id="122" name="Rectangle 428">
                <a:extLst>
                  <a:ext uri="{FF2B5EF4-FFF2-40B4-BE49-F238E27FC236}">
                    <a16:creationId xmlns:a16="http://schemas.microsoft.com/office/drawing/2014/main" id="{BFAACBCE-A6E1-6D12-64CC-82ABF0173C4A}"/>
                  </a:ext>
                </a:extLst>
              </p:cNvPr>
              <p:cNvSpPr/>
              <p:nvPr/>
            </p:nvSpPr>
            <p:spPr bwMode="auto">
              <a:xfrm>
                <a:off x="612278" y="3651542"/>
                <a:ext cx="205200" cy="84035"/>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sp>
            <p:nvSpPr>
              <p:cNvPr id="123" name="Rectangle 429">
                <a:extLst>
                  <a:ext uri="{FF2B5EF4-FFF2-40B4-BE49-F238E27FC236}">
                    <a16:creationId xmlns:a16="http://schemas.microsoft.com/office/drawing/2014/main" id="{78B745AE-0B30-BC8B-B386-C1D440F3DFB5}"/>
                  </a:ext>
                </a:extLst>
              </p:cNvPr>
              <p:cNvSpPr/>
              <p:nvPr/>
            </p:nvSpPr>
            <p:spPr bwMode="auto">
              <a:xfrm>
                <a:off x="1069462" y="3651542"/>
                <a:ext cx="205200" cy="84035"/>
              </a:xfrm>
              <a:prstGeom prst="rect">
                <a:avLst/>
              </a:prstGeom>
              <a:solidFill>
                <a:srgbClr val="AFCA0B"/>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sp>
            <p:nvSpPr>
              <p:cNvPr id="124" name="Rectangle 430">
                <a:extLst>
                  <a:ext uri="{FF2B5EF4-FFF2-40B4-BE49-F238E27FC236}">
                    <a16:creationId xmlns:a16="http://schemas.microsoft.com/office/drawing/2014/main" id="{4DB653DB-616F-5BA4-3615-D7624E0D0C88}"/>
                  </a:ext>
                </a:extLst>
              </p:cNvPr>
              <p:cNvSpPr/>
              <p:nvPr/>
            </p:nvSpPr>
            <p:spPr bwMode="auto">
              <a:xfrm>
                <a:off x="840869" y="3651542"/>
                <a:ext cx="205200" cy="84035"/>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grpSp>
      </p:grpSp>
      <p:grpSp>
        <p:nvGrpSpPr>
          <p:cNvPr id="528" name="Gruppieren 527">
            <a:extLst>
              <a:ext uri="{FF2B5EF4-FFF2-40B4-BE49-F238E27FC236}">
                <a16:creationId xmlns:a16="http://schemas.microsoft.com/office/drawing/2014/main" id="{8F10BE5F-AA43-402B-5987-1EB156783C07}"/>
              </a:ext>
            </a:extLst>
          </p:cNvPr>
          <p:cNvGrpSpPr/>
          <p:nvPr/>
        </p:nvGrpSpPr>
        <p:grpSpPr>
          <a:xfrm>
            <a:off x="640124" y="8054267"/>
            <a:ext cx="836280" cy="865606"/>
            <a:chOff x="3739119" y="1804404"/>
            <a:chExt cx="836278" cy="865606"/>
          </a:xfrm>
        </p:grpSpPr>
        <p:grpSp>
          <p:nvGrpSpPr>
            <p:cNvPr id="529" name="Group 56">
              <a:extLst>
                <a:ext uri="{FF2B5EF4-FFF2-40B4-BE49-F238E27FC236}">
                  <a16:creationId xmlns:a16="http://schemas.microsoft.com/office/drawing/2014/main" id="{4E60B1B8-1750-FC04-7163-031D8F2B7972}"/>
                </a:ext>
              </a:extLst>
            </p:cNvPr>
            <p:cNvGrpSpPr/>
            <p:nvPr/>
          </p:nvGrpSpPr>
          <p:grpSpPr>
            <a:xfrm>
              <a:off x="3743032" y="1804404"/>
              <a:ext cx="832365" cy="448802"/>
              <a:chOff x="267851" y="1425917"/>
              <a:chExt cx="1243072" cy="674753"/>
            </a:xfrm>
          </p:grpSpPr>
          <p:sp>
            <p:nvSpPr>
              <p:cNvPr id="535" name="Rechteck 272">
                <a:extLst>
                  <a:ext uri="{FF2B5EF4-FFF2-40B4-BE49-F238E27FC236}">
                    <a16:creationId xmlns:a16="http://schemas.microsoft.com/office/drawing/2014/main" id="{D2D55B93-CCBA-8C12-72C1-882EB593A97C}"/>
                  </a:ext>
                </a:extLst>
              </p:cNvPr>
              <p:cNvSpPr/>
              <p:nvPr/>
            </p:nvSpPr>
            <p:spPr>
              <a:xfrm>
                <a:off x="267851" y="1918686"/>
                <a:ext cx="1243072" cy="181984"/>
              </a:xfrm>
              <a:prstGeom prst="rect">
                <a:avLst/>
              </a:prstGeom>
              <a:noFill/>
              <a:ln w="25400" cap="flat" cmpd="sng" algn="ctr">
                <a:noFill/>
                <a:prstDash val="solid"/>
              </a:ln>
              <a:effectLst/>
            </p:spPr>
            <p:txBody>
              <a:bodyPr lIns="72000" tIns="72000" rIns="72000" bIns="72000" rtlCol="0" anchor="ctr"/>
              <a:lstStyle/>
              <a:p>
                <a:pPr algn="ctr">
                  <a:spcBef>
                    <a:spcPts val="600"/>
                  </a:spcBef>
                  <a:buClr>
                    <a:schemeClr val="bg1"/>
                  </a:buClr>
                </a:pPr>
                <a:r>
                  <a:rPr lang="en-GB" sz="700" dirty="0">
                    <a:solidFill>
                      <a:schemeClr val="bg2"/>
                    </a:solidFill>
                    <a:latin typeface="DWS Sans Light" panose="02010404010101010104" pitchFamily="50" charset="0"/>
                    <a:cs typeface="DWS Sans Light" panose="02010404010101010104" pitchFamily="50" charset="0"/>
                  </a:rPr>
                  <a:t>breve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p:txBody>
          </p:sp>
          <p:grpSp>
            <p:nvGrpSpPr>
              <p:cNvPr id="536" name="Gruppieren 348">
                <a:extLst>
                  <a:ext uri="{FF2B5EF4-FFF2-40B4-BE49-F238E27FC236}">
                    <a16:creationId xmlns:a16="http://schemas.microsoft.com/office/drawing/2014/main" id="{247EEA00-F512-2CF3-1D4C-059BB31AC001}"/>
                  </a:ext>
                </a:extLst>
              </p:cNvPr>
              <p:cNvGrpSpPr/>
              <p:nvPr/>
            </p:nvGrpSpPr>
            <p:grpSpPr>
              <a:xfrm rot="3291935">
                <a:off x="788748" y="1645811"/>
                <a:ext cx="84660" cy="367354"/>
                <a:chOff x="1662113" y="1735139"/>
                <a:chExt cx="192088" cy="833505"/>
              </a:xfrm>
            </p:grpSpPr>
            <p:grpSp>
              <p:nvGrpSpPr>
                <p:cNvPr id="583" name="Gruppieren 349">
                  <a:extLst>
                    <a:ext uri="{FF2B5EF4-FFF2-40B4-BE49-F238E27FC236}">
                      <a16:creationId xmlns:a16="http://schemas.microsoft.com/office/drawing/2014/main" id="{92C7EFE3-16CC-0731-0F1C-70576B24AACB}"/>
                    </a:ext>
                  </a:extLst>
                </p:cNvPr>
                <p:cNvGrpSpPr/>
                <p:nvPr/>
              </p:nvGrpSpPr>
              <p:grpSpPr>
                <a:xfrm>
                  <a:off x="1662113" y="1735139"/>
                  <a:ext cx="192088" cy="506413"/>
                  <a:chOff x="1662113" y="1735139"/>
                  <a:chExt cx="192088" cy="506413"/>
                </a:xfrm>
              </p:grpSpPr>
              <p:sp>
                <p:nvSpPr>
                  <p:cNvPr id="589" name="Freeform 10">
                    <a:extLst>
                      <a:ext uri="{FF2B5EF4-FFF2-40B4-BE49-F238E27FC236}">
                        <a16:creationId xmlns:a16="http://schemas.microsoft.com/office/drawing/2014/main" id="{55CC2179-91A6-2F93-55F5-28A441EE4A6F}"/>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solidFill>
                    <a:srgbClr val="B7C5C8"/>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590" name="Freeform 12">
                    <a:extLst>
                      <a:ext uri="{FF2B5EF4-FFF2-40B4-BE49-F238E27FC236}">
                        <a16:creationId xmlns:a16="http://schemas.microsoft.com/office/drawing/2014/main" id="{EFE4F735-B7FB-2A95-2195-541CE65A1591}"/>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591" name="Oval 13">
                    <a:extLst>
                      <a:ext uri="{FF2B5EF4-FFF2-40B4-BE49-F238E27FC236}">
                        <a16:creationId xmlns:a16="http://schemas.microsoft.com/office/drawing/2014/main" id="{6E142BE5-C8F7-FFFB-FD8B-2B79FA21501E}"/>
                      </a:ext>
                    </a:extLst>
                  </p:cNvPr>
                  <p:cNvSpPr>
                    <a:spLocks noChangeArrowheads="1"/>
                  </p:cNvSpPr>
                  <p:nvPr/>
                </p:nvSpPr>
                <p:spPr bwMode="auto">
                  <a:xfrm>
                    <a:off x="1730375" y="2120902"/>
                    <a:ext cx="60325" cy="60325"/>
                  </a:xfrm>
                  <a:prstGeom prst="ellipse">
                    <a:avLst/>
                  </a:prstGeom>
                  <a:solidFill>
                    <a:srgbClr val="6D828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592" name="Freeform 11">
                    <a:extLst>
                      <a:ext uri="{FF2B5EF4-FFF2-40B4-BE49-F238E27FC236}">
                        <a16:creationId xmlns:a16="http://schemas.microsoft.com/office/drawing/2014/main" id="{5B18E378-1C5A-F55D-A137-76110BDF8BD1}"/>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solidFill>
                    <a:srgbClr val="6D828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grpSp>
            <p:grpSp>
              <p:nvGrpSpPr>
                <p:cNvPr id="584" name="Gruppieren 350">
                  <a:extLst>
                    <a:ext uri="{FF2B5EF4-FFF2-40B4-BE49-F238E27FC236}">
                      <a16:creationId xmlns:a16="http://schemas.microsoft.com/office/drawing/2014/main" id="{A8F3E027-EAD0-7F05-DDCA-965D5B3D081B}"/>
                    </a:ext>
                  </a:extLst>
                </p:cNvPr>
                <p:cNvGrpSpPr/>
                <p:nvPr/>
              </p:nvGrpSpPr>
              <p:grpSpPr>
                <a:xfrm flipV="1">
                  <a:off x="1662113" y="2062231"/>
                  <a:ext cx="192088" cy="506413"/>
                  <a:chOff x="1662113" y="1735139"/>
                  <a:chExt cx="192088" cy="506413"/>
                </a:xfrm>
                <a:noFill/>
              </p:grpSpPr>
              <p:sp>
                <p:nvSpPr>
                  <p:cNvPr id="585" name="Freeform 10">
                    <a:extLst>
                      <a:ext uri="{FF2B5EF4-FFF2-40B4-BE49-F238E27FC236}">
                        <a16:creationId xmlns:a16="http://schemas.microsoft.com/office/drawing/2014/main" id="{A6540A44-E4D3-CF36-BD6F-90D7BE81D618}"/>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586" name="Freeform 11">
                    <a:extLst>
                      <a:ext uri="{FF2B5EF4-FFF2-40B4-BE49-F238E27FC236}">
                        <a16:creationId xmlns:a16="http://schemas.microsoft.com/office/drawing/2014/main" id="{F7BEDE67-60B6-1DB4-4024-F7D14C4CE695}"/>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587" name="Freeform 12">
                    <a:extLst>
                      <a:ext uri="{FF2B5EF4-FFF2-40B4-BE49-F238E27FC236}">
                        <a16:creationId xmlns:a16="http://schemas.microsoft.com/office/drawing/2014/main" id="{E2BAC553-8579-D056-F86F-76027CFE7C2E}"/>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588" name="Oval 13">
                    <a:extLst>
                      <a:ext uri="{FF2B5EF4-FFF2-40B4-BE49-F238E27FC236}">
                        <a16:creationId xmlns:a16="http://schemas.microsoft.com/office/drawing/2014/main" id="{D0AB7CE6-533D-6E57-2732-790B6B95E9E5}"/>
                      </a:ext>
                    </a:extLst>
                  </p:cNvPr>
                  <p:cNvSpPr>
                    <a:spLocks noChangeArrowheads="1"/>
                  </p:cNvSpPr>
                  <p:nvPr/>
                </p:nvSpPr>
                <p:spPr bwMode="auto">
                  <a:xfrm>
                    <a:off x="1730375" y="2120902"/>
                    <a:ext cx="60325" cy="603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grpSp>
          </p:grpSp>
          <p:grpSp>
            <p:nvGrpSpPr>
              <p:cNvPr id="537" name="Gruppieren 359">
                <a:extLst>
                  <a:ext uri="{FF2B5EF4-FFF2-40B4-BE49-F238E27FC236}">
                    <a16:creationId xmlns:a16="http://schemas.microsoft.com/office/drawing/2014/main" id="{E7362346-CCB0-78E4-21BB-69D77D4BDAB7}"/>
                  </a:ext>
                </a:extLst>
              </p:cNvPr>
              <p:cNvGrpSpPr/>
              <p:nvPr/>
            </p:nvGrpSpPr>
            <p:grpSpPr>
              <a:xfrm>
                <a:off x="431540" y="1425917"/>
                <a:ext cx="817200" cy="412452"/>
                <a:chOff x="431540" y="1425917"/>
                <a:chExt cx="817200" cy="412452"/>
              </a:xfrm>
            </p:grpSpPr>
            <p:sp>
              <p:nvSpPr>
                <p:cNvPr id="538" name="Freeform 11">
                  <a:extLst>
                    <a:ext uri="{FF2B5EF4-FFF2-40B4-BE49-F238E27FC236}">
                      <a16:creationId xmlns:a16="http://schemas.microsoft.com/office/drawing/2014/main" id="{47CDC591-B5B9-49FF-13DE-11443DB7A80C}"/>
                    </a:ext>
                  </a:extLst>
                </p:cNvPr>
                <p:cNvSpPr>
                  <a:spLocks/>
                </p:cNvSpPr>
                <p:nvPr/>
              </p:nvSpPr>
              <p:spPr bwMode="auto">
                <a:xfrm>
                  <a:off x="431540" y="1487276"/>
                  <a:ext cx="246261" cy="351093"/>
                </a:xfrm>
                <a:custGeom>
                  <a:avLst/>
                  <a:gdLst>
                    <a:gd name="T0" fmla="*/ 160 w 378"/>
                    <a:gd name="T1" fmla="*/ 534 h 534"/>
                    <a:gd name="T2" fmla="*/ 378 w 378"/>
                    <a:gd name="T3" fmla="*/ 139 h 534"/>
                    <a:gd name="T4" fmla="*/ 298 w 378"/>
                    <a:gd name="T5" fmla="*/ 0 h 534"/>
                    <a:gd name="T6" fmla="*/ 0 w 378"/>
                    <a:gd name="T7" fmla="*/ 534 h 534"/>
                    <a:gd name="T8" fmla="*/ 160 w 378"/>
                    <a:gd name="T9" fmla="*/ 534 h 534"/>
                  </a:gdLst>
                  <a:ahLst/>
                  <a:cxnLst>
                    <a:cxn ang="0">
                      <a:pos x="T0" y="T1"/>
                    </a:cxn>
                    <a:cxn ang="0">
                      <a:pos x="T2" y="T3"/>
                    </a:cxn>
                    <a:cxn ang="0">
                      <a:pos x="T4" y="T5"/>
                    </a:cxn>
                    <a:cxn ang="0">
                      <a:pos x="T6" y="T7"/>
                    </a:cxn>
                    <a:cxn ang="0">
                      <a:pos x="T8" y="T9"/>
                    </a:cxn>
                  </a:cxnLst>
                  <a:rect l="0" t="0" r="r" b="b"/>
                  <a:pathLst>
                    <a:path w="378" h="534">
                      <a:moveTo>
                        <a:pt x="160" y="534"/>
                      </a:moveTo>
                      <a:cubicBezTo>
                        <a:pt x="160" y="367"/>
                        <a:pt x="247" y="221"/>
                        <a:pt x="378" y="139"/>
                      </a:cubicBezTo>
                      <a:cubicBezTo>
                        <a:pt x="298" y="0"/>
                        <a:pt x="298" y="0"/>
                        <a:pt x="298" y="0"/>
                      </a:cubicBezTo>
                      <a:cubicBezTo>
                        <a:pt x="119" y="111"/>
                        <a:pt x="0" y="308"/>
                        <a:pt x="0" y="534"/>
                      </a:cubicBezTo>
                      <a:lnTo>
                        <a:pt x="160" y="534"/>
                      </a:ln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540" name="Freeform 12">
                  <a:extLst>
                    <a:ext uri="{FF2B5EF4-FFF2-40B4-BE49-F238E27FC236}">
                      <a16:creationId xmlns:a16="http://schemas.microsoft.com/office/drawing/2014/main" id="{D1A1D5ED-3C3F-731D-451B-C7440FB4BB0F}"/>
                    </a:ext>
                  </a:extLst>
                </p:cNvPr>
                <p:cNvSpPr>
                  <a:spLocks/>
                </p:cNvSpPr>
                <p:nvPr/>
              </p:nvSpPr>
              <p:spPr bwMode="auto">
                <a:xfrm>
                  <a:off x="645883" y="1425917"/>
                  <a:ext cx="388514" cy="140878"/>
                </a:xfrm>
                <a:custGeom>
                  <a:avLst/>
                  <a:gdLst>
                    <a:gd name="T0" fmla="*/ 80 w 596"/>
                    <a:gd name="T1" fmla="*/ 214 h 214"/>
                    <a:gd name="T2" fmla="*/ 298 w 596"/>
                    <a:gd name="T3" fmla="*/ 160 h 214"/>
                    <a:gd name="T4" fmla="*/ 516 w 596"/>
                    <a:gd name="T5" fmla="*/ 214 h 214"/>
                    <a:gd name="T6" fmla="*/ 596 w 596"/>
                    <a:gd name="T7" fmla="*/ 75 h 214"/>
                    <a:gd name="T8" fmla="*/ 298 w 596"/>
                    <a:gd name="T9" fmla="*/ 0 h 214"/>
                    <a:gd name="T10" fmla="*/ 0 w 596"/>
                    <a:gd name="T11" fmla="*/ 75 h 214"/>
                    <a:gd name="T12" fmla="*/ 80 w 596"/>
                    <a:gd name="T13" fmla="*/ 214 h 214"/>
                  </a:gdLst>
                  <a:ahLst/>
                  <a:cxnLst>
                    <a:cxn ang="0">
                      <a:pos x="T0" y="T1"/>
                    </a:cxn>
                    <a:cxn ang="0">
                      <a:pos x="T2" y="T3"/>
                    </a:cxn>
                    <a:cxn ang="0">
                      <a:pos x="T4" y="T5"/>
                    </a:cxn>
                    <a:cxn ang="0">
                      <a:pos x="T6" y="T7"/>
                    </a:cxn>
                    <a:cxn ang="0">
                      <a:pos x="T8" y="T9"/>
                    </a:cxn>
                    <a:cxn ang="0">
                      <a:pos x="T10" y="T11"/>
                    </a:cxn>
                    <a:cxn ang="0">
                      <a:pos x="T12" y="T13"/>
                    </a:cxn>
                  </a:cxnLst>
                  <a:rect l="0" t="0" r="r" b="b"/>
                  <a:pathLst>
                    <a:path w="596" h="214">
                      <a:moveTo>
                        <a:pt x="80" y="214"/>
                      </a:moveTo>
                      <a:cubicBezTo>
                        <a:pt x="145" y="179"/>
                        <a:pt x="219" y="160"/>
                        <a:pt x="298" y="160"/>
                      </a:cubicBezTo>
                      <a:cubicBezTo>
                        <a:pt x="377" y="160"/>
                        <a:pt x="451" y="179"/>
                        <a:pt x="516" y="214"/>
                      </a:cubicBezTo>
                      <a:cubicBezTo>
                        <a:pt x="596" y="75"/>
                        <a:pt x="596" y="75"/>
                        <a:pt x="596" y="75"/>
                      </a:cubicBezTo>
                      <a:cubicBezTo>
                        <a:pt x="507" y="27"/>
                        <a:pt x="406" y="0"/>
                        <a:pt x="298" y="0"/>
                      </a:cubicBezTo>
                      <a:cubicBezTo>
                        <a:pt x="190" y="0"/>
                        <a:pt x="89" y="27"/>
                        <a:pt x="0" y="75"/>
                      </a:cubicBezTo>
                      <a:lnTo>
                        <a:pt x="80" y="214"/>
                      </a:ln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541" name="Freeform 13">
                  <a:extLst>
                    <a:ext uri="{FF2B5EF4-FFF2-40B4-BE49-F238E27FC236}">
                      <a16:creationId xmlns:a16="http://schemas.microsoft.com/office/drawing/2014/main" id="{360DBE97-985B-AB9B-E9A1-02CD8F19999A}"/>
                    </a:ext>
                  </a:extLst>
                </p:cNvPr>
                <p:cNvSpPr>
                  <a:spLocks/>
                </p:cNvSpPr>
                <p:nvPr/>
              </p:nvSpPr>
              <p:spPr bwMode="auto">
                <a:xfrm>
                  <a:off x="1002479" y="1487276"/>
                  <a:ext cx="246261" cy="351093"/>
                </a:xfrm>
                <a:custGeom>
                  <a:avLst/>
                  <a:gdLst>
                    <a:gd name="T0" fmla="*/ 80 w 378"/>
                    <a:gd name="T1" fmla="*/ 0 h 534"/>
                    <a:gd name="T2" fmla="*/ 0 w 378"/>
                    <a:gd name="T3" fmla="*/ 139 h 534"/>
                    <a:gd name="T4" fmla="*/ 218 w 378"/>
                    <a:gd name="T5" fmla="*/ 534 h 534"/>
                    <a:gd name="T6" fmla="*/ 378 w 378"/>
                    <a:gd name="T7" fmla="*/ 534 h 534"/>
                    <a:gd name="T8" fmla="*/ 80 w 378"/>
                    <a:gd name="T9" fmla="*/ 0 h 534"/>
                  </a:gdLst>
                  <a:ahLst/>
                  <a:cxnLst>
                    <a:cxn ang="0">
                      <a:pos x="T0" y="T1"/>
                    </a:cxn>
                    <a:cxn ang="0">
                      <a:pos x="T2" y="T3"/>
                    </a:cxn>
                    <a:cxn ang="0">
                      <a:pos x="T4" y="T5"/>
                    </a:cxn>
                    <a:cxn ang="0">
                      <a:pos x="T6" y="T7"/>
                    </a:cxn>
                    <a:cxn ang="0">
                      <a:pos x="T8" y="T9"/>
                    </a:cxn>
                  </a:cxnLst>
                  <a:rect l="0" t="0" r="r" b="b"/>
                  <a:pathLst>
                    <a:path w="378" h="534">
                      <a:moveTo>
                        <a:pt x="80" y="0"/>
                      </a:moveTo>
                      <a:cubicBezTo>
                        <a:pt x="0" y="139"/>
                        <a:pt x="0" y="139"/>
                        <a:pt x="0" y="139"/>
                      </a:cubicBezTo>
                      <a:cubicBezTo>
                        <a:pt x="131" y="221"/>
                        <a:pt x="218" y="367"/>
                        <a:pt x="218" y="534"/>
                      </a:cubicBezTo>
                      <a:cubicBezTo>
                        <a:pt x="378" y="534"/>
                        <a:pt x="378" y="534"/>
                        <a:pt x="378" y="534"/>
                      </a:cubicBezTo>
                      <a:cubicBezTo>
                        <a:pt x="378" y="308"/>
                        <a:pt x="259" y="111"/>
                        <a:pt x="80" y="0"/>
                      </a:cubicBezTo>
                      <a:close/>
                    </a:path>
                  </a:pathLst>
                </a:custGeom>
                <a:solidFill>
                  <a:schemeClr val="tx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542" name="Freihandform: Form 363">
                  <a:extLst>
                    <a:ext uri="{FF2B5EF4-FFF2-40B4-BE49-F238E27FC236}">
                      <a16:creationId xmlns:a16="http://schemas.microsoft.com/office/drawing/2014/main" id="{4675B622-12FD-564D-A0B8-4AFB3D2D2A70}"/>
                    </a:ext>
                  </a:extLst>
                </p:cNvPr>
                <p:cNvSpPr>
                  <a:spLocks/>
                </p:cNvSpPr>
                <p:nvPr/>
              </p:nvSpPr>
              <p:spPr bwMode="auto">
                <a:xfrm>
                  <a:off x="556734" y="1552212"/>
                  <a:ext cx="566812" cy="286157"/>
                </a:xfrm>
                <a:custGeom>
                  <a:avLst/>
                  <a:gdLst>
                    <a:gd name="connsiteX0" fmla="*/ 283406 w 566812"/>
                    <a:gd name="connsiteY0" fmla="*/ 0 h 286157"/>
                    <a:gd name="connsiteX1" fmla="*/ 566812 w 566812"/>
                    <a:gd name="connsiteY1" fmla="*/ 286157 h 286157"/>
                    <a:gd name="connsiteX2" fmla="*/ 506571 w 566812"/>
                    <a:gd name="connsiteY2" fmla="*/ 286157 h 286157"/>
                    <a:gd name="connsiteX3" fmla="*/ 283406 w 566812"/>
                    <a:gd name="connsiteY3" fmla="*/ 60826 h 286157"/>
                    <a:gd name="connsiteX4" fmla="*/ 60241 w 566812"/>
                    <a:gd name="connsiteY4" fmla="*/ 286157 h 286157"/>
                    <a:gd name="connsiteX5" fmla="*/ 0 w 566812"/>
                    <a:gd name="connsiteY5" fmla="*/ 286157 h 286157"/>
                    <a:gd name="connsiteX6" fmla="*/ 283406 w 566812"/>
                    <a:gd name="connsiteY6" fmla="*/ 0 h 28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812" h="286157">
                      <a:moveTo>
                        <a:pt x="283406" y="0"/>
                      </a:moveTo>
                      <a:cubicBezTo>
                        <a:pt x="439768" y="0"/>
                        <a:pt x="566812" y="128277"/>
                        <a:pt x="566812" y="286157"/>
                      </a:cubicBezTo>
                      <a:lnTo>
                        <a:pt x="506571" y="286157"/>
                      </a:lnTo>
                      <a:cubicBezTo>
                        <a:pt x="506571" y="161837"/>
                        <a:pt x="406532" y="60826"/>
                        <a:pt x="283406" y="60826"/>
                      </a:cubicBezTo>
                      <a:cubicBezTo>
                        <a:pt x="160281" y="60826"/>
                        <a:pt x="60241" y="161837"/>
                        <a:pt x="60241" y="286157"/>
                      </a:cubicBezTo>
                      <a:lnTo>
                        <a:pt x="0" y="286157"/>
                      </a:lnTo>
                      <a:cubicBezTo>
                        <a:pt x="0" y="128277"/>
                        <a:pt x="127044" y="0"/>
                        <a:pt x="283406" y="0"/>
                      </a:cubicBez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grpSp>
        </p:grpSp>
        <p:grpSp>
          <p:nvGrpSpPr>
            <p:cNvPr id="530" name="Group 425">
              <a:extLst>
                <a:ext uri="{FF2B5EF4-FFF2-40B4-BE49-F238E27FC236}">
                  <a16:creationId xmlns:a16="http://schemas.microsoft.com/office/drawing/2014/main" id="{6DAB5DA4-77ED-2BA8-47FB-48449DF82BEB}"/>
                </a:ext>
              </a:extLst>
            </p:cNvPr>
            <p:cNvGrpSpPr/>
            <p:nvPr/>
          </p:nvGrpSpPr>
          <p:grpSpPr>
            <a:xfrm>
              <a:off x="3739119" y="2316645"/>
              <a:ext cx="811474" cy="353365"/>
              <a:chOff x="474862" y="3651542"/>
              <a:chExt cx="982286" cy="439585"/>
            </a:xfrm>
          </p:grpSpPr>
          <p:sp>
            <p:nvSpPr>
              <p:cNvPr id="531" name="Rechteck 273">
                <a:extLst>
                  <a:ext uri="{FF2B5EF4-FFF2-40B4-BE49-F238E27FC236}">
                    <a16:creationId xmlns:a16="http://schemas.microsoft.com/office/drawing/2014/main" id="{0F57BEFA-425C-D166-BD86-2AF9B15B2D90}"/>
                  </a:ext>
                </a:extLst>
              </p:cNvPr>
              <p:cNvSpPr/>
              <p:nvPr/>
            </p:nvSpPr>
            <p:spPr>
              <a:xfrm>
                <a:off x="474862" y="3712020"/>
                <a:ext cx="982286" cy="379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bg1"/>
                  </a:buClr>
                </a:pPr>
                <a:r>
                  <a:rPr lang="en-GB" sz="700" dirty="0" err="1">
                    <a:solidFill>
                      <a:schemeClr val="bg2"/>
                    </a:solidFill>
                    <a:latin typeface="DWS Sans Light" panose="02010404010101010104" pitchFamily="50" charset="0"/>
                    <a:cs typeface="DWS Sans Light" panose="02010404010101010104" pitchFamily="50" charset="0"/>
                  </a:rPr>
                  <a:t>lungo</a:t>
                </a:r>
                <a:r>
                  <a:rPr lang="en-GB" sz="700" dirty="0">
                    <a:solidFill>
                      <a:schemeClr val="bg2"/>
                    </a:solidFill>
                    <a:latin typeface="DWS Sans Light" panose="02010404010101010104" pitchFamily="50" charset="0"/>
                    <a:cs typeface="DWS Sans Light" panose="02010404010101010104" pitchFamily="50" charset="0"/>
                  </a:rPr>
                  <a:t>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p:txBody>
          </p:sp>
          <p:sp>
            <p:nvSpPr>
              <p:cNvPr id="532" name="Rectangle 428">
                <a:extLst>
                  <a:ext uri="{FF2B5EF4-FFF2-40B4-BE49-F238E27FC236}">
                    <a16:creationId xmlns:a16="http://schemas.microsoft.com/office/drawing/2014/main" id="{E1362517-28AF-D441-2CE9-CF255849E1B6}"/>
                  </a:ext>
                </a:extLst>
              </p:cNvPr>
              <p:cNvSpPr/>
              <p:nvPr/>
            </p:nvSpPr>
            <p:spPr bwMode="auto">
              <a:xfrm>
                <a:off x="612278" y="3651542"/>
                <a:ext cx="205200" cy="84035"/>
              </a:xfrm>
              <a:prstGeom prst="rect">
                <a:avLst/>
              </a:prstGeom>
              <a:solidFill>
                <a:srgbClr val="E84057"/>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sp>
            <p:nvSpPr>
              <p:cNvPr id="533" name="Rectangle 429">
                <a:extLst>
                  <a:ext uri="{FF2B5EF4-FFF2-40B4-BE49-F238E27FC236}">
                    <a16:creationId xmlns:a16="http://schemas.microsoft.com/office/drawing/2014/main" id="{6ABEC4B1-7EC3-90FB-2BAC-151456D91101}"/>
                  </a:ext>
                </a:extLst>
              </p:cNvPr>
              <p:cNvSpPr/>
              <p:nvPr/>
            </p:nvSpPr>
            <p:spPr bwMode="auto">
              <a:xfrm>
                <a:off x="1069462" y="3651542"/>
                <a:ext cx="205200" cy="84035"/>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sp>
            <p:nvSpPr>
              <p:cNvPr id="534" name="Rectangle 430">
                <a:extLst>
                  <a:ext uri="{FF2B5EF4-FFF2-40B4-BE49-F238E27FC236}">
                    <a16:creationId xmlns:a16="http://schemas.microsoft.com/office/drawing/2014/main" id="{C31D2FB4-7E82-8C7E-EEF5-FEDB9A3D6FAF}"/>
                  </a:ext>
                </a:extLst>
              </p:cNvPr>
              <p:cNvSpPr/>
              <p:nvPr/>
            </p:nvSpPr>
            <p:spPr bwMode="auto">
              <a:xfrm>
                <a:off x="840869" y="3651542"/>
                <a:ext cx="205200" cy="84035"/>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grpSp>
      </p:grpSp>
      <p:grpSp>
        <p:nvGrpSpPr>
          <p:cNvPr id="593" name="Gruppieren 592">
            <a:extLst>
              <a:ext uri="{FF2B5EF4-FFF2-40B4-BE49-F238E27FC236}">
                <a16:creationId xmlns:a16="http://schemas.microsoft.com/office/drawing/2014/main" id="{75E865D0-1D16-1506-E50A-BABC162B4718}"/>
              </a:ext>
            </a:extLst>
          </p:cNvPr>
          <p:cNvGrpSpPr/>
          <p:nvPr/>
        </p:nvGrpSpPr>
        <p:grpSpPr>
          <a:xfrm>
            <a:off x="667419" y="9333306"/>
            <a:ext cx="785138" cy="807733"/>
            <a:chOff x="3752653" y="1804401"/>
            <a:chExt cx="785137" cy="807733"/>
          </a:xfrm>
        </p:grpSpPr>
        <p:grpSp>
          <p:nvGrpSpPr>
            <p:cNvPr id="594" name="Group 56">
              <a:extLst>
                <a:ext uri="{FF2B5EF4-FFF2-40B4-BE49-F238E27FC236}">
                  <a16:creationId xmlns:a16="http://schemas.microsoft.com/office/drawing/2014/main" id="{B631AFD3-EBFA-3BAE-7DD7-4FE5CB6FD7DA}"/>
                </a:ext>
              </a:extLst>
            </p:cNvPr>
            <p:cNvGrpSpPr/>
            <p:nvPr/>
          </p:nvGrpSpPr>
          <p:grpSpPr>
            <a:xfrm>
              <a:off x="3783414" y="1804401"/>
              <a:ext cx="713940" cy="452399"/>
              <a:chOff x="328158" y="1425917"/>
              <a:chExt cx="1066213" cy="680162"/>
            </a:xfrm>
          </p:grpSpPr>
          <p:sp>
            <p:nvSpPr>
              <p:cNvPr id="617" name="Rechteck 272">
                <a:extLst>
                  <a:ext uri="{FF2B5EF4-FFF2-40B4-BE49-F238E27FC236}">
                    <a16:creationId xmlns:a16="http://schemas.microsoft.com/office/drawing/2014/main" id="{5A55EAD5-035E-DFFC-37BA-45C8C05CF433}"/>
                  </a:ext>
                </a:extLst>
              </p:cNvPr>
              <p:cNvSpPr/>
              <p:nvPr/>
            </p:nvSpPr>
            <p:spPr>
              <a:xfrm>
                <a:off x="328158" y="1912225"/>
                <a:ext cx="1066213" cy="193854"/>
              </a:xfrm>
              <a:prstGeom prst="rect">
                <a:avLst/>
              </a:prstGeom>
              <a:noFill/>
              <a:ln w="25400" cap="flat" cmpd="sng" algn="ctr">
                <a:noFill/>
                <a:prstDash val="solid"/>
              </a:ln>
              <a:effectLst/>
            </p:spPr>
            <p:txBody>
              <a:bodyPr lIns="72000" tIns="72000" rIns="72000" bIns="72000" rtlCol="0" anchor="ctr"/>
              <a:lstStyle/>
              <a:p>
                <a:pPr algn="ctr">
                  <a:spcBef>
                    <a:spcPts val="600"/>
                  </a:spcBef>
                  <a:buClr>
                    <a:schemeClr val="bg1"/>
                  </a:buClr>
                </a:pPr>
                <a:r>
                  <a:rPr lang="en-GB" sz="700" dirty="0">
                    <a:solidFill>
                      <a:schemeClr val="bg2"/>
                    </a:solidFill>
                    <a:latin typeface="DWS Sans Light" panose="02010404010101010104" pitchFamily="50" charset="0"/>
                    <a:cs typeface="DWS Sans Light" panose="02010404010101010104" pitchFamily="50" charset="0"/>
                  </a:rPr>
                  <a:t>breve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p:txBody>
          </p:sp>
          <p:grpSp>
            <p:nvGrpSpPr>
              <p:cNvPr id="618" name="Gruppieren 348">
                <a:extLst>
                  <a:ext uri="{FF2B5EF4-FFF2-40B4-BE49-F238E27FC236}">
                    <a16:creationId xmlns:a16="http://schemas.microsoft.com/office/drawing/2014/main" id="{D8AD84A6-2BCB-FFAE-9586-999093CF0562}"/>
                  </a:ext>
                </a:extLst>
              </p:cNvPr>
              <p:cNvGrpSpPr/>
              <p:nvPr/>
            </p:nvGrpSpPr>
            <p:grpSpPr>
              <a:xfrm rot="3291935">
                <a:off x="788748" y="1645811"/>
                <a:ext cx="84660" cy="367354"/>
                <a:chOff x="1662113" y="1735139"/>
                <a:chExt cx="192088" cy="833505"/>
              </a:xfrm>
            </p:grpSpPr>
            <p:grpSp>
              <p:nvGrpSpPr>
                <p:cNvPr id="624" name="Gruppieren 349">
                  <a:extLst>
                    <a:ext uri="{FF2B5EF4-FFF2-40B4-BE49-F238E27FC236}">
                      <a16:creationId xmlns:a16="http://schemas.microsoft.com/office/drawing/2014/main" id="{8E064FC3-F501-ACE0-0E49-B277E077BD6F}"/>
                    </a:ext>
                  </a:extLst>
                </p:cNvPr>
                <p:cNvGrpSpPr/>
                <p:nvPr/>
              </p:nvGrpSpPr>
              <p:grpSpPr>
                <a:xfrm>
                  <a:off x="1662113" y="1735139"/>
                  <a:ext cx="192088" cy="506413"/>
                  <a:chOff x="1662113" y="1735139"/>
                  <a:chExt cx="192088" cy="506413"/>
                </a:xfrm>
              </p:grpSpPr>
              <p:sp>
                <p:nvSpPr>
                  <p:cNvPr id="256" name="Freeform 10">
                    <a:extLst>
                      <a:ext uri="{FF2B5EF4-FFF2-40B4-BE49-F238E27FC236}">
                        <a16:creationId xmlns:a16="http://schemas.microsoft.com/office/drawing/2014/main" id="{6F30A302-DAFE-3E01-97DA-5B137EC312A4}"/>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solidFill>
                    <a:srgbClr val="B7C5C8"/>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272" name="Freeform 12">
                    <a:extLst>
                      <a:ext uri="{FF2B5EF4-FFF2-40B4-BE49-F238E27FC236}">
                        <a16:creationId xmlns:a16="http://schemas.microsoft.com/office/drawing/2014/main" id="{049E36D9-81C5-59E8-3C4A-BDEA8DE82EBA}"/>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273" name="Oval 13">
                    <a:extLst>
                      <a:ext uri="{FF2B5EF4-FFF2-40B4-BE49-F238E27FC236}">
                        <a16:creationId xmlns:a16="http://schemas.microsoft.com/office/drawing/2014/main" id="{2320D7D7-67F2-7816-DDAE-32A81F9C9F90}"/>
                      </a:ext>
                    </a:extLst>
                  </p:cNvPr>
                  <p:cNvSpPr>
                    <a:spLocks noChangeArrowheads="1"/>
                  </p:cNvSpPr>
                  <p:nvPr/>
                </p:nvSpPr>
                <p:spPr bwMode="auto">
                  <a:xfrm>
                    <a:off x="1730375" y="2120902"/>
                    <a:ext cx="60325" cy="60325"/>
                  </a:xfrm>
                  <a:prstGeom prst="ellipse">
                    <a:avLst/>
                  </a:prstGeom>
                  <a:solidFill>
                    <a:srgbClr val="6D828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275" name="Freeform 11">
                    <a:extLst>
                      <a:ext uri="{FF2B5EF4-FFF2-40B4-BE49-F238E27FC236}">
                        <a16:creationId xmlns:a16="http://schemas.microsoft.com/office/drawing/2014/main" id="{3F79DCAB-63DC-4FBB-AEA7-505D0AB90BDB}"/>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solidFill>
                    <a:srgbClr val="6D828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grpSp>
            <p:grpSp>
              <p:nvGrpSpPr>
                <p:cNvPr id="625" name="Gruppieren 350">
                  <a:extLst>
                    <a:ext uri="{FF2B5EF4-FFF2-40B4-BE49-F238E27FC236}">
                      <a16:creationId xmlns:a16="http://schemas.microsoft.com/office/drawing/2014/main" id="{9D2C227A-2E77-861C-DD18-2349B00186E5}"/>
                    </a:ext>
                  </a:extLst>
                </p:cNvPr>
                <p:cNvGrpSpPr/>
                <p:nvPr/>
              </p:nvGrpSpPr>
              <p:grpSpPr>
                <a:xfrm flipV="1">
                  <a:off x="1662113" y="2062231"/>
                  <a:ext cx="192088" cy="506413"/>
                  <a:chOff x="1662113" y="1735139"/>
                  <a:chExt cx="192088" cy="506413"/>
                </a:xfrm>
                <a:noFill/>
              </p:grpSpPr>
              <p:sp>
                <p:nvSpPr>
                  <p:cNvPr id="626" name="Freeform 10">
                    <a:extLst>
                      <a:ext uri="{FF2B5EF4-FFF2-40B4-BE49-F238E27FC236}">
                        <a16:creationId xmlns:a16="http://schemas.microsoft.com/office/drawing/2014/main" id="{E71D963F-D7A3-8575-5878-8DD6659089F5}"/>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627" name="Freeform 11">
                    <a:extLst>
                      <a:ext uri="{FF2B5EF4-FFF2-40B4-BE49-F238E27FC236}">
                        <a16:creationId xmlns:a16="http://schemas.microsoft.com/office/drawing/2014/main" id="{C9751810-D164-BD0D-16AB-A78A4778E679}"/>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628" name="Freeform 12">
                    <a:extLst>
                      <a:ext uri="{FF2B5EF4-FFF2-40B4-BE49-F238E27FC236}">
                        <a16:creationId xmlns:a16="http://schemas.microsoft.com/office/drawing/2014/main" id="{AE8249A7-E9E4-EE95-A485-06FA59B79729}"/>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629" name="Oval 13">
                    <a:extLst>
                      <a:ext uri="{FF2B5EF4-FFF2-40B4-BE49-F238E27FC236}">
                        <a16:creationId xmlns:a16="http://schemas.microsoft.com/office/drawing/2014/main" id="{D5CAE7CA-A824-F80D-3F0C-8549F3E29AF1}"/>
                      </a:ext>
                    </a:extLst>
                  </p:cNvPr>
                  <p:cNvSpPr>
                    <a:spLocks noChangeArrowheads="1"/>
                  </p:cNvSpPr>
                  <p:nvPr/>
                </p:nvSpPr>
                <p:spPr bwMode="auto">
                  <a:xfrm>
                    <a:off x="1730375" y="2120902"/>
                    <a:ext cx="60325" cy="603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grpSp>
          </p:grpSp>
          <p:grpSp>
            <p:nvGrpSpPr>
              <p:cNvPr id="619" name="Gruppieren 359">
                <a:extLst>
                  <a:ext uri="{FF2B5EF4-FFF2-40B4-BE49-F238E27FC236}">
                    <a16:creationId xmlns:a16="http://schemas.microsoft.com/office/drawing/2014/main" id="{018D56D5-A505-8534-3942-941D9BD4234B}"/>
                  </a:ext>
                </a:extLst>
              </p:cNvPr>
              <p:cNvGrpSpPr/>
              <p:nvPr/>
            </p:nvGrpSpPr>
            <p:grpSpPr>
              <a:xfrm>
                <a:off x="431540" y="1425917"/>
                <a:ext cx="817200" cy="412452"/>
                <a:chOff x="431540" y="1425917"/>
                <a:chExt cx="817200" cy="412452"/>
              </a:xfrm>
            </p:grpSpPr>
            <p:sp>
              <p:nvSpPr>
                <p:cNvPr id="620" name="Freeform 11">
                  <a:extLst>
                    <a:ext uri="{FF2B5EF4-FFF2-40B4-BE49-F238E27FC236}">
                      <a16:creationId xmlns:a16="http://schemas.microsoft.com/office/drawing/2014/main" id="{5AFC6BCD-C5CD-7B77-1FB8-91FD906E9531}"/>
                    </a:ext>
                  </a:extLst>
                </p:cNvPr>
                <p:cNvSpPr>
                  <a:spLocks/>
                </p:cNvSpPr>
                <p:nvPr/>
              </p:nvSpPr>
              <p:spPr bwMode="auto">
                <a:xfrm>
                  <a:off x="431540" y="1487276"/>
                  <a:ext cx="246261" cy="351093"/>
                </a:xfrm>
                <a:custGeom>
                  <a:avLst/>
                  <a:gdLst>
                    <a:gd name="T0" fmla="*/ 160 w 378"/>
                    <a:gd name="T1" fmla="*/ 534 h 534"/>
                    <a:gd name="T2" fmla="*/ 378 w 378"/>
                    <a:gd name="T3" fmla="*/ 139 h 534"/>
                    <a:gd name="T4" fmla="*/ 298 w 378"/>
                    <a:gd name="T5" fmla="*/ 0 h 534"/>
                    <a:gd name="T6" fmla="*/ 0 w 378"/>
                    <a:gd name="T7" fmla="*/ 534 h 534"/>
                    <a:gd name="T8" fmla="*/ 160 w 378"/>
                    <a:gd name="T9" fmla="*/ 534 h 534"/>
                  </a:gdLst>
                  <a:ahLst/>
                  <a:cxnLst>
                    <a:cxn ang="0">
                      <a:pos x="T0" y="T1"/>
                    </a:cxn>
                    <a:cxn ang="0">
                      <a:pos x="T2" y="T3"/>
                    </a:cxn>
                    <a:cxn ang="0">
                      <a:pos x="T4" y="T5"/>
                    </a:cxn>
                    <a:cxn ang="0">
                      <a:pos x="T6" y="T7"/>
                    </a:cxn>
                    <a:cxn ang="0">
                      <a:pos x="T8" y="T9"/>
                    </a:cxn>
                  </a:cxnLst>
                  <a:rect l="0" t="0" r="r" b="b"/>
                  <a:pathLst>
                    <a:path w="378" h="534">
                      <a:moveTo>
                        <a:pt x="160" y="534"/>
                      </a:moveTo>
                      <a:cubicBezTo>
                        <a:pt x="160" y="367"/>
                        <a:pt x="247" y="221"/>
                        <a:pt x="378" y="139"/>
                      </a:cubicBezTo>
                      <a:cubicBezTo>
                        <a:pt x="298" y="0"/>
                        <a:pt x="298" y="0"/>
                        <a:pt x="298" y="0"/>
                      </a:cubicBezTo>
                      <a:cubicBezTo>
                        <a:pt x="119" y="111"/>
                        <a:pt x="0" y="308"/>
                        <a:pt x="0" y="534"/>
                      </a:cubicBezTo>
                      <a:lnTo>
                        <a:pt x="160" y="534"/>
                      </a:ln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621" name="Freeform 12">
                  <a:extLst>
                    <a:ext uri="{FF2B5EF4-FFF2-40B4-BE49-F238E27FC236}">
                      <a16:creationId xmlns:a16="http://schemas.microsoft.com/office/drawing/2014/main" id="{1894D20C-F751-FE04-6271-6E7036E49838}"/>
                    </a:ext>
                  </a:extLst>
                </p:cNvPr>
                <p:cNvSpPr>
                  <a:spLocks/>
                </p:cNvSpPr>
                <p:nvPr/>
              </p:nvSpPr>
              <p:spPr bwMode="auto">
                <a:xfrm>
                  <a:off x="645883" y="1425917"/>
                  <a:ext cx="388514" cy="140878"/>
                </a:xfrm>
                <a:custGeom>
                  <a:avLst/>
                  <a:gdLst>
                    <a:gd name="T0" fmla="*/ 80 w 596"/>
                    <a:gd name="T1" fmla="*/ 214 h 214"/>
                    <a:gd name="T2" fmla="*/ 298 w 596"/>
                    <a:gd name="T3" fmla="*/ 160 h 214"/>
                    <a:gd name="T4" fmla="*/ 516 w 596"/>
                    <a:gd name="T5" fmla="*/ 214 h 214"/>
                    <a:gd name="T6" fmla="*/ 596 w 596"/>
                    <a:gd name="T7" fmla="*/ 75 h 214"/>
                    <a:gd name="T8" fmla="*/ 298 w 596"/>
                    <a:gd name="T9" fmla="*/ 0 h 214"/>
                    <a:gd name="T10" fmla="*/ 0 w 596"/>
                    <a:gd name="T11" fmla="*/ 75 h 214"/>
                    <a:gd name="T12" fmla="*/ 80 w 596"/>
                    <a:gd name="T13" fmla="*/ 214 h 214"/>
                  </a:gdLst>
                  <a:ahLst/>
                  <a:cxnLst>
                    <a:cxn ang="0">
                      <a:pos x="T0" y="T1"/>
                    </a:cxn>
                    <a:cxn ang="0">
                      <a:pos x="T2" y="T3"/>
                    </a:cxn>
                    <a:cxn ang="0">
                      <a:pos x="T4" y="T5"/>
                    </a:cxn>
                    <a:cxn ang="0">
                      <a:pos x="T6" y="T7"/>
                    </a:cxn>
                    <a:cxn ang="0">
                      <a:pos x="T8" y="T9"/>
                    </a:cxn>
                    <a:cxn ang="0">
                      <a:pos x="T10" y="T11"/>
                    </a:cxn>
                    <a:cxn ang="0">
                      <a:pos x="T12" y="T13"/>
                    </a:cxn>
                  </a:cxnLst>
                  <a:rect l="0" t="0" r="r" b="b"/>
                  <a:pathLst>
                    <a:path w="596" h="214">
                      <a:moveTo>
                        <a:pt x="80" y="214"/>
                      </a:moveTo>
                      <a:cubicBezTo>
                        <a:pt x="145" y="179"/>
                        <a:pt x="219" y="160"/>
                        <a:pt x="298" y="160"/>
                      </a:cubicBezTo>
                      <a:cubicBezTo>
                        <a:pt x="377" y="160"/>
                        <a:pt x="451" y="179"/>
                        <a:pt x="516" y="214"/>
                      </a:cubicBezTo>
                      <a:cubicBezTo>
                        <a:pt x="596" y="75"/>
                        <a:pt x="596" y="75"/>
                        <a:pt x="596" y="75"/>
                      </a:cubicBezTo>
                      <a:cubicBezTo>
                        <a:pt x="507" y="27"/>
                        <a:pt x="406" y="0"/>
                        <a:pt x="298" y="0"/>
                      </a:cubicBezTo>
                      <a:cubicBezTo>
                        <a:pt x="190" y="0"/>
                        <a:pt x="89" y="27"/>
                        <a:pt x="0" y="75"/>
                      </a:cubicBezTo>
                      <a:lnTo>
                        <a:pt x="80" y="214"/>
                      </a:ln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622" name="Freeform 13">
                  <a:extLst>
                    <a:ext uri="{FF2B5EF4-FFF2-40B4-BE49-F238E27FC236}">
                      <a16:creationId xmlns:a16="http://schemas.microsoft.com/office/drawing/2014/main" id="{A4E2E84F-26C7-48BF-4562-2503DB51A8BB}"/>
                    </a:ext>
                  </a:extLst>
                </p:cNvPr>
                <p:cNvSpPr>
                  <a:spLocks/>
                </p:cNvSpPr>
                <p:nvPr/>
              </p:nvSpPr>
              <p:spPr bwMode="auto">
                <a:xfrm>
                  <a:off x="1002479" y="1487276"/>
                  <a:ext cx="246261" cy="351093"/>
                </a:xfrm>
                <a:custGeom>
                  <a:avLst/>
                  <a:gdLst>
                    <a:gd name="T0" fmla="*/ 80 w 378"/>
                    <a:gd name="T1" fmla="*/ 0 h 534"/>
                    <a:gd name="T2" fmla="*/ 0 w 378"/>
                    <a:gd name="T3" fmla="*/ 139 h 534"/>
                    <a:gd name="T4" fmla="*/ 218 w 378"/>
                    <a:gd name="T5" fmla="*/ 534 h 534"/>
                    <a:gd name="T6" fmla="*/ 378 w 378"/>
                    <a:gd name="T7" fmla="*/ 534 h 534"/>
                    <a:gd name="T8" fmla="*/ 80 w 378"/>
                    <a:gd name="T9" fmla="*/ 0 h 534"/>
                  </a:gdLst>
                  <a:ahLst/>
                  <a:cxnLst>
                    <a:cxn ang="0">
                      <a:pos x="T0" y="T1"/>
                    </a:cxn>
                    <a:cxn ang="0">
                      <a:pos x="T2" y="T3"/>
                    </a:cxn>
                    <a:cxn ang="0">
                      <a:pos x="T4" y="T5"/>
                    </a:cxn>
                    <a:cxn ang="0">
                      <a:pos x="T6" y="T7"/>
                    </a:cxn>
                    <a:cxn ang="0">
                      <a:pos x="T8" y="T9"/>
                    </a:cxn>
                  </a:cxnLst>
                  <a:rect l="0" t="0" r="r" b="b"/>
                  <a:pathLst>
                    <a:path w="378" h="534">
                      <a:moveTo>
                        <a:pt x="80" y="0"/>
                      </a:moveTo>
                      <a:cubicBezTo>
                        <a:pt x="0" y="139"/>
                        <a:pt x="0" y="139"/>
                        <a:pt x="0" y="139"/>
                      </a:cubicBezTo>
                      <a:cubicBezTo>
                        <a:pt x="131" y="221"/>
                        <a:pt x="218" y="367"/>
                        <a:pt x="218" y="534"/>
                      </a:cubicBezTo>
                      <a:cubicBezTo>
                        <a:pt x="378" y="534"/>
                        <a:pt x="378" y="534"/>
                        <a:pt x="378" y="534"/>
                      </a:cubicBezTo>
                      <a:cubicBezTo>
                        <a:pt x="378" y="308"/>
                        <a:pt x="259" y="111"/>
                        <a:pt x="80" y="0"/>
                      </a:cubicBezTo>
                      <a:close/>
                    </a:path>
                  </a:pathLst>
                </a:custGeom>
                <a:solidFill>
                  <a:schemeClr val="tx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623" name="Freihandform: Form 363">
                  <a:extLst>
                    <a:ext uri="{FF2B5EF4-FFF2-40B4-BE49-F238E27FC236}">
                      <a16:creationId xmlns:a16="http://schemas.microsoft.com/office/drawing/2014/main" id="{6F0ECA58-B24A-EDD7-CD9B-9BACCE5FCB58}"/>
                    </a:ext>
                  </a:extLst>
                </p:cNvPr>
                <p:cNvSpPr>
                  <a:spLocks/>
                </p:cNvSpPr>
                <p:nvPr/>
              </p:nvSpPr>
              <p:spPr bwMode="auto">
                <a:xfrm>
                  <a:off x="556734" y="1552212"/>
                  <a:ext cx="566812" cy="286157"/>
                </a:xfrm>
                <a:custGeom>
                  <a:avLst/>
                  <a:gdLst>
                    <a:gd name="connsiteX0" fmla="*/ 283406 w 566812"/>
                    <a:gd name="connsiteY0" fmla="*/ 0 h 286157"/>
                    <a:gd name="connsiteX1" fmla="*/ 566812 w 566812"/>
                    <a:gd name="connsiteY1" fmla="*/ 286157 h 286157"/>
                    <a:gd name="connsiteX2" fmla="*/ 506571 w 566812"/>
                    <a:gd name="connsiteY2" fmla="*/ 286157 h 286157"/>
                    <a:gd name="connsiteX3" fmla="*/ 283406 w 566812"/>
                    <a:gd name="connsiteY3" fmla="*/ 60826 h 286157"/>
                    <a:gd name="connsiteX4" fmla="*/ 60241 w 566812"/>
                    <a:gd name="connsiteY4" fmla="*/ 286157 h 286157"/>
                    <a:gd name="connsiteX5" fmla="*/ 0 w 566812"/>
                    <a:gd name="connsiteY5" fmla="*/ 286157 h 286157"/>
                    <a:gd name="connsiteX6" fmla="*/ 283406 w 566812"/>
                    <a:gd name="connsiteY6" fmla="*/ 0 h 28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812" h="286157">
                      <a:moveTo>
                        <a:pt x="283406" y="0"/>
                      </a:moveTo>
                      <a:cubicBezTo>
                        <a:pt x="439768" y="0"/>
                        <a:pt x="566812" y="128277"/>
                        <a:pt x="566812" y="286157"/>
                      </a:cubicBezTo>
                      <a:lnTo>
                        <a:pt x="506571" y="286157"/>
                      </a:lnTo>
                      <a:cubicBezTo>
                        <a:pt x="506571" y="161837"/>
                        <a:pt x="406532" y="60826"/>
                        <a:pt x="283406" y="60826"/>
                      </a:cubicBezTo>
                      <a:cubicBezTo>
                        <a:pt x="160281" y="60826"/>
                        <a:pt x="60241" y="161837"/>
                        <a:pt x="60241" y="286157"/>
                      </a:cubicBezTo>
                      <a:lnTo>
                        <a:pt x="0" y="286157"/>
                      </a:lnTo>
                      <a:cubicBezTo>
                        <a:pt x="0" y="128277"/>
                        <a:pt x="127044" y="0"/>
                        <a:pt x="283406" y="0"/>
                      </a:cubicBez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grpSp>
        </p:grpSp>
        <p:grpSp>
          <p:nvGrpSpPr>
            <p:cNvPr id="595" name="Group 425">
              <a:extLst>
                <a:ext uri="{FF2B5EF4-FFF2-40B4-BE49-F238E27FC236}">
                  <a16:creationId xmlns:a16="http://schemas.microsoft.com/office/drawing/2014/main" id="{B2FDCE49-3E4C-B159-EEA7-44D3DA4CF0AB}"/>
                </a:ext>
              </a:extLst>
            </p:cNvPr>
            <p:cNvGrpSpPr/>
            <p:nvPr/>
          </p:nvGrpSpPr>
          <p:grpSpPr>
            <a:xfrm>
              <a:off x="3752653" y="2316638"/>
              <a:ext cx="785137" cy="295496"/>
              <a:chOff x="491244" y="3651542"/>
              <a:chExt cx="950407" cy="367597"/>
            </a:xfrm>
          </p:grpSpPr>
          <p:sp>
            <p:nvSpPr>
              <p:cNvPr id="596" name="Rechteck 273">
                <a:extLst>
                  <a:ext uri="{FF2B5EF4-FFF2-40B4-BE49-F238E27FC236}">
                    <a16:creationId xmlns:a16="http://schemas.microsoft.com/office/drawing/2014/main" id="{E63E8FC2-7703-FB97-1DD7-8D1A0E7A670C}"/>
                  </a:ext>
                </a:extLst>
              </p:cNvPr>
              <p:cNvSpPr/>
              <p:nvPr/>
            </p:nvSpPr>
            <p:spPr>
              <a:xfrm>
                <a:off x="491244" y="3744932"/>
                <a:ext cx="950407" cy="2742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bg1"/>
                  </a:buClr>
                </a:pPr>
                <a:r>
                  <a:rPr lang="en-GB" sz="700" dirty="0" err="1">
                    <a:solidFill>
                      <a:schemeClr val="bg2"/>
                    </a:solidFill>
                    <a:latin typeface="DWS Sans Light" panose="02010404010101010104" pitchFamily="50" charset="0"/>
                    <a:cs typeface="DWS Sans Light" panose="02010404010101010104" pitchFamily="50" charset="0"/>
                  </a:rPr>
                  <a:t>lungo</a:t>
                </a:r>
                <a:r>
                  <a:rPr lang="en-GB" sz="700" dirty="0">
                    <a:solidFill>
                      <a:schemeClr val="bg2"/>
                    </a:solidFill>
                    <a:latin typeface="DWS Sans Light" panose="02010404010101010104" pitchFamily="50" charset="0"/>
                    <a:cs typeface="DWS Sans Light" panose="02010404010101010104" pitchFamily="50" charset="0"/>
                  </a:rPr>
                  <a:t>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p:txBody>
          </p:sp>
          <p:sp>
            <p:nvSpPr>
              <p:cNvPr id="597" name="Rectangle 428">
                <a:extLst>
                  <a:ext uri="{FF2B5EF4-FFF2-40B4-BE49-F238E27FC236}">
                    <a16:creationId xmlns:a16="http://schemas.microsoft.com/office/drawing/2014/main" id="{D8ECC0D2-2BA3-B9CB-66B1-38A8C8EB0CF1}"/>
                  </a:ext>
                </a:extLst>
              </p:cNvPr>
              <p:cNvSpPr/>
              <p:nvPr/>
            </p:nvSpPr>
            <p:spPr bwMode="auto">
              <a:xfrm>
                <a:off x="612278" y="3651542"/>
                <a:ext cx="205200" cy="84035"/>
              </a:xfrm>
              <a:prstGeom prst="rect">
                <a:avLst/>
              </a:prstGeom>
              <a:solidFill>
                <a:srgbClr val="E84057"/>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sp>
            <p:nvSpPr>
              <p:cNvPr id="598" name="Rectangle 429">
                <a:extLst>
                  <a:ext uri="{FF2B5EF4-FFF2-40B4-BE49-F238E27FC236}">
                    <a16:creationId xmlns:a16="http://schemas.microsoft.com/office/drawing/2014/main" id="{43BBCEA4-5E29-A16B-618F-4CB7D19C48CE}"/>
                  </a:ext>
                </a:extLst>
              </p:cNvPr>
              <p:cNvSpPr/>
              <p:nvPr/>
            </p:nvSpPr>
            <p:spPr bwMode="auto">
              <a:xfrm>
                <a:off x="1069462" y="3651542"/>
                <a:ext cx="205200" cy="84035"/>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sp>
            <p:nvSpPr>
              <p:cNvPr id="599" name="Rectangle 430">
                <a:extLst>
                  <a:ext uri="{FF2B5EF4-FFF2-40B4-BE49-F238E27FC236}">
                    <a16:creationId xmlns:a16="http://schemas.microsoft.com/office/drawing/2014/main" id="{22C6D309-F91D-B9C9-A7E1-D6EE988F3397}"/>
                  </a:ext>
                </a:extLst>
              </p:cNvPr>
              <p:cNvSpPr/>
              <p:nvPr/>
            </p:nvSpPr>
            <p:spPr bwMode="auto">
              <a:xfrm>
                <a:off x="840869" y="3651542"/>
                <a:ext cx="205200" cy="84035"/>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grpSp>
      </p:grpSp>
      <p:pic>
        <p:nvPicPr>
          <p:cNvPr id="32" name="Grafik 31">
            <a:extLst>
              <a:ext uri="{FF2B5EF4-FFF2-40B4-BE49-F238E27FC236}">
                <a16:creationId xmlns:a16="http://schemas.microsoft.com/office/drawing/2014/main" id="{41658AD2-537A-E713-5C22-2956CA5B5386}"/>
              </a:ext>
            </a:extLst>
          </p:cNvPr>
          <p:cNvPicPr>
            <a:picLocks noChangeAspect="1"/>
          </p:cNvPicPr>
          <p:nvPr/>
        </p:nvPicPr>
        <p:blipFill>
          <a:blip r:embed="rId5"/>
          <a:stretch>
            <a:fillRect/>
          </a:stretch>
        </p:blipFill>
        <p:spPr>
          <a:xfrm>
            <a:off x="573971" y="5542779"/>
            <a:ext cx="3079758" cy="1768806"/>
          </a:xfrm>
          <a:prstGeom prst="rect">
            <a:avLst/>
          </a:prstGeom>
        </p:spPr>
      </p:pic>
    </p:spTree>
    <p:extLst>
      <p:ext uri="{BB962C8B-B14F-4D97-AF65-F5344CB8AC3E}">
        <p14:creationId xmlns:p14="http://schemas.microsoft.com/office/powerpoint/2010/main" val="2359084499"/>
      </p:ext>
    </p:extLst>
  </p:cSld>
  <p:clrMapOvr>
    <a:masterClrMapping/>
  </p:clrMapOvr>
  <p:extLst>
    <p:ext uri="{6950BFC3-D8DA-4A85-94F7-54DA5524770B}">
      <p188:commentRel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ieren 2">
            <a:extLst>
              <a:ext uri="{FF2B5EF4-FFF2-40B4-BE49-F238E27FC236}">
                <a16:creationId xmlns:a16="http://schemas.microsoft.com/office/drawing/2014/main" id="{1735362B-5C01-42FE-841E-08B1EB9F1674}"/>
              </a:ext>
            </a:extLst>
          </p:cNvPr>
          <p:cNvGrpSpPr/>
          <p:nvPr/>
        </p:nvGrpSpPr>
        <p:grpSpPr>
          <a:xfrm>
            <a:off x="618807" y="886938"/>
            <a:ext cx="6329681" cy="3200011"/>
            <a:chOff x="612775" y="931577"/>
            <a:chExt cx="6329681" cy="6067259"/>
          </a:xfrm>
        </p:grpSpPr>
        <p:sp>
          <p:nvSpPr>
            <p:cNvPr id="173" name="Text Placeholder 10">
              <a:extLst>
                <a:ext uri="{FF2B5EF4-FFF2-40B4-BE49-F238E27FC236}">
                  <a16:creationId xmlns:a16="http://schemas.microsoft.com/office/drawing/2014/main" id="{090E8850-A496-475A-8A30-6C25565ECB16}"/>
                </a:ext>
              </a:extLst>
            </p:cNvPr>
            <p:cNvSpPr txBox="1">
              <a:spLocks/>
            </p:cNvSpPr>
            <p:nvPr/>
          </p:nvSpPr>
          <p:spPr>
            <a:xfrm>
              <a:off x="612775" y="952549"/>
              <a:ext cx="3013855" cy="6046287"/>
            </a:xfrm>
            <a:prstGeom prst="rect">
              <a:avLst/>
            </a:prstGeom>
          </p:spPr>
          <p:txBody>
            <a:bodyPr wrap="square" lIns="0" tIns="0" rIns="0" bIns="0">
              <a:spAutoFit/>
            </a:bodyPr>
            <a:lstStyle>
              <a:lvl1pPr algn="l" rtl="0" eaLnBrk="1" fontAlgn="base" hangingPunct="1">
                <a:lnSpc>
                  <a:spcPct val="106000"/>
                </a:lnSpc>
                <a:spcBef>
                  <a:spcPts val="800"/>
                </a:spcBef>
                <a:spcAft>
                  <a:spcPts val="0"/>
                </a:spcAft>
                <a:defRPr sz="1000" b="1" kern="1200">
                  <a:solidFill>
                    <a:schemeClr val="accent2"/>
                  </a:solidFill>
                  <a:latin typeface="+mn-lt"/>
                  <a:ea typeface="ＭＳ Ｐゴシック" pitchFamily="-109" charset="-128"/>
                  <a:cs typeface="ＭＳ Ｐゴシック" pitchFamily="-109" charset="-128"/>
                </a:defRPr>
              </a:lvl1pPr>
              <a:lvl2pPr algn="l" rtl="0" eaLnBrk="1" fontAlgn="base" hangingPunct="1">
                <a:lnSpc>
                  <a:spcPct val="106000"/>
                </a:lnSpc>
                <a:spcBef>
                  <a:spcPts val="200"/>
                </a:spcBef>
                <a:spcAft>
                  <a:spcPts val="0"/>
                </a:spcAft>
                <a:defRPr sz="1000" kern="1200">
                  <a:solidFill>
                    <a:schemeClr val="bg2"/>
                  </a:solidFill>
                  <a:latin typeface="+mn-lt"/>
                  <a:ea typeface="ＭＳ Ｐゴシック" pitchFamily="-109" charset="-128"/>
                </a:defRPr>
              </a:lvl2pPr>
              <a:lvl3pPr marL="9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3pPr>
              <a:lvl4pPr marL="18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4pPr>
              <a:lvl5pPr marL="0" indent="0" algn="l" rtl="0" eaLnBrk="1" fontAlgn="base" hangingPunct="1">
                <a:lnSpc>
                  <a:spcPct val="106000"/>
                </a:lnSpc>
                <a:spcBef>
                  <a:spcPts val="1200"/>
                </a:spcBef>
                <a:spcAft>
                  <a:spcPts val="0"/>
                </a:spcAft>
                <a:buFont typeface="Arial" panose="020B0604020202020204" pitchFamily="34" charset="0"/>
                <a:buNone/>
                <a:defRPr sz="12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pPr>
                <a:spcBef>
                  <a:spcPts val="600"/>
                </a:spcBef>
              </a:pPr>
              <a:r>
                <a:rPr lang="en-US" sz="800" dirty="0">
                  <a:latin typeface="DWS Sans Light" panose="02010404010101010104" pitchFamily="50" charset="0"/>
                  <a:cs typeface="DWS Sans Light" panose="02010404010101010104" pitchFamily="50" charset="0"/>
                </a:rPr>
                <a:t>Base point</a:t>
              </a:r>
              <a:br>
                <a:rPr lang="en-US" sz="800" dirty="0">
                  <a:latin typeface="DWS Sans Light" panose="02010404010101010104" pitchFamily="50" charset="0"/>
                  <a:cs typeface="DWS Sans Light" panose="02010404010101010104" pitchFamily="50" charset="0"/>
                </a:rPr>
              </a:br>
              <a:r>
                <a:rPr lang="it-IT" sz="800" b="0" dirty="0">
                  <a:solidFill>
                    <a:schemeClr val="bg2">
                      <a:lumMod val="95000"/>
                      <a:lumOff val="5000"/>
                    </a:schemeClr>
                  </a:solidFill>
                  <a:latin typeface="DWS Sans Light" panose="02010404010101010104" pitchFamily="50" charset="0"/>
                  <a:cs typeface="DWS Sans Light" panose="02010404010101010104" pitchFamily="50" charset="0"/>
                </a:rPr>
                <a:t>Un punto base è equivalente a 1/100 di un punto percentuale.</a:t>
              </a:r>
              <a:r>
                <a:rPr lang="en-US" sz="800" dirty="0">
                  <a:latin typeface="DWS Sans Light" panose="02010404010101010104" pitchFamily="50" charset="0"/>
                  <a:cs typeface="DWS Sans Light" panose="02010404010101010104" pitchFamily="50" charset="0"/>
                </a:rPr>
                <a:t>
Dax</a:t>
              </a:r>
              <a:br>
                <a:rPr lang="en-US" sz="800" dirty="0">
                  <a:latin typeface="DWS Sans Light" panose="02010404010101010104" pitchFamily="50" charset="0"/>
                  <a:cs typeface="DWS Sans Light" panose="02010404010101010104" pitchFamily="50" charset="0"/>
                </a:rPr>
              </a:br>
              <a:r>
                <a:rPr lang="it-IT" sz="800" b="0" dirty="0">
                  <a:solidFill>
                    <a:schemeClr val="bg2">
                      <a:lumMod val="95000"/>
                      <a:lumOff val="5000"/>
                    </a:schemeClr>
                  </a:solidFill>
                  <a:latin typeface="DWS Sans Light" panose="02010404010101010104" pitchFamily="50" charset="0"/>
                  <a:cs typeface="DWS Sans Light" panose="02010404010101010104" pitchFamily="50" charset="0"/>
                </a:rPr>
                <a:t>Indice ponderato per capitalizzazione di mercato, con le 40 società quotate più importanti in Germania. Indice di performance, che include i pagamenti dei dividendi. </a:t>
              </a:r>
            </a:p>
            <a:p>
              <a:pPr>
                <a:spcBef>
                  <a:spcPts val="600"/>
                </a:spcBef>
              </a:pPr>
              <a:r>
                <a:rPr lang="en-US" sz="800" b="0" dirty="0"/>
                <a:t>High yield (HY) </a:t>
              </a:r>
              <a:br>
                <a:rPr lang="en-US" sz="800" dirty="0"/>
              </a:br>
              <a:r>
                <a:rPr lang="it-IT" sz="800" b="0" dirty="0">
                  <a:solidFill>
                    <a:schemeClr val="bg2">
                      <a:lumMod val="95000"/>
                      <a:lumOff val="5000"/>
                    </a:schemeClr>
                  </a:solidFill>
                  <a:latin typeface="DWS Sans Light" panose="02010404010101010104" pitchFamily="50" charset="0"/>
                  <a:cs typeface="DWS Sans Light" panose="02010404010101010104" pitchFamily="50" charset="0"/>
                </a:rPr>
                <a:t>Obbligazioni societarie emesse da emittenti con una scarsa valutazione creditizia: questi titoli generalmente offrono tassi di interesse relativamente elevati.</a:t>
              </a:r>
              <a:endParaRPr lang="en-US" sz="800" b="0" dirty="0">
                <a:latin typeface="DWS Sans Light" panose="02010404010101010104" pitchFamily="50" charset="0"/>
                <a:cs typeface="DWS Sans Light" panose="02010404010101010104" pitchFamily="50" charset="0"/>
              </a:endParaRPr>
            </a:p>
            <a:p>
              <a:pPr>
                <a:spcBef>
                  <a:spcPts val="600"/>
                </a:spcBef>
              </a:pPr>
              <a:r>
                <a:rPr lang="en-US" sz="800" b="0" dirty="0"/>
                <a:t>Investment grade (IG)</a:t>
              </a:r>
              <a:br>
                <a:rPr lang="en-US" sz="800" dirty="0"/>
              </a:br>
              <a:r>
                <a:rPr lang="it-IT" sz="800" b="0" dirty="0">
                  <a:solidFill>
                    <a:schemeClr val="bg2">
                      <a:lumMod val="95000"/>
                      <a:lumOff val="5000"/>
                    </a:schemeClr>
                  </a:solidFill>
                  <a:latin typeface="DWS Sans Light" panose="02010404010101010104" pitchFamily="50" charset="0"/>
                  <a:cs typeface="DWS Sans Light" panose="02010404010101010104" pitchFamily="50" charset="0"/>
                </a:rPr>
                <a:t>Obbligazioni societarie considerate dalle agenzie di rating come a basso rischio di insolvenza (almeno rating creditizio medio).</a:t>
              </a:r>
              <a:endParaRPr lang="en-US" sz="800" b="0" dirty="0">
                <a:solidFill>
                  <a:schemeClr val="bg2"/>
                </a:solidFill>
                <a:latin typeface="DWS Sans Light" panose="02010404010101010104" pitchFamily="50" charset="0"/>
                <a:cs typeface="DWS Sans Light" panose="02010404010101010104" pitchFamily="50" charset="0"/>
              </a:endParaRPr>
            </a:p>
            <a:p>
              <a:pPr>
                <a:spcBef>
                  <a:spcPts val="600"/>
                </a:spcBef>
              </a:pPr>
              <a:r>
                <a:rPr lang="en-US" sz="800" b="0" dirty="0"/>
                <a:t>Move Index</a:t>
              </a:r>
              <a:br>
                <a:rPr lang="en-US" sz="800" b="0" dirty="0">
                  <a:solidFill>
                    <a:schemeClr val="bg2"/>
                  </a:solidFill>
                  <a:latin typeface="DWS Sans Light" panose="02010404010101010104"/>
                </a:rPr>
              </a:br>
              <a:r>
                <a:rPr lang="it-IT" sz="800" b="0" dirty="0">
                  <a:solidFill>
                    <a:schemeClr val="bg2"/>
                  </a:solidFill>
                  <a:latin typeface="DWS Sans Light" panose="02010404010101010104" pitchFamily="50" charset="0"/>
                  <a:cs typeface="DWS Sans Light" panose="02010404010101010104" pitchFamily="50" charset="0"/>
                </a:rPr>
                <a:t>Misura la volatilità attesa dei Treasury statunitensi. Un valore elevato indica che sono previsti movimenti significativi nei tassi d’interesse, mentre un valore basso suggerisce che il mercato si aspetta tassi stabili.</a:t>
              </a:r>
            </a:p>
            <a:p>
              <a:pPr>
                <a:spcBef>
                  <a:spcPts val="600"/>
                </a:spcBef>
              </a:pPr>
              <a:br>
                <a:rPr lang="en-US" sz="800" b="0" dirty="0">
                  <a:solidFill>
                    <a:schemeClr val="bg2"/>
                  </a:solidFill>
                  <a:latin typeface="DWS Sans Light" panose="02010404010101010104"/>
                </a:rPr>
              </a:br>
              <a:r>
                <a:rPr lang="en-US" sz="800" dirty="0"/>
                <a:t>
</a:t>
              </a:r>
              <a:endParaRPr lang="de-DE" sz="800" b="0" dirty="0">
                <a:solidFill>
                  <a:schemeClr val="bg2"/>
                </a:solidFill>
                <a:latin typeface="DWS Sans Light" panose="02010404010101010104"/>
              </a:endParaRPr>
            </a:p>
          </p:txBody>
        </p:sp>
        <p:sp>
          <p:nvSpPr>
            <p:cNvPr id="174" name="Text Placeholder 11">
              <a:extLst>
                <a:ext uri="{FF2B5EF4-FFF2-40B4-BE49-F238E27FC236}">
                  <a16:creationId xmlns:a16="http://schemas.microsoft.com/office/drawing/2014/main" id="{2D050E3F-BD84-4561-8FA8-8AF4B109EA64}"/>
                </a:ext>
              </a:extLst>
            </p:cNvPr>
            <p:cNvSpPr txBox="1">
              <a:spLocks/>
            </p:cNvSpPr>
            <p:nvPr/>
          </p:nvSpPr>
          <p:spPr>
            <a:xfrm>
              <a:off x="3859889" y="931577"/>
              <a:ext cx="3082567" cy="4318256"/>
            </a:xfrm>
            <a:prstGeom prst="rect">
              <a:avLst/>
            </a:prstGeom>
          </p:spPr>
          <p:txBody>
            <a:bodyPr wrap="square" lIns="0" tIns="0" rIns="0" bIns="0">
              <a:spAutoFit/>
            </a:bodyPr>
            <a:lstStyle>
              <a:defPPr>
                <a:defRPr lang="en-US"/>
              </a:defPPr>
              <a:lvl1pPr eaLnBrk="1" hangingPunct="1">
                <a:lnSpc>
                  <a:spcPct val="100000"/>
                </a:lnSpc>
                <a:spcBef>
                  <a:spcPts val="600"/>
                </a:spcBef>
                <a:spcAft>
                  <a:spcPts val="0"/>
                </a:spcAft>
                <a:defRPr sz="900" b="1">
                  <a:solidFill>
                    <a:schemeClr val="accent2"/>
                  </a:solidFill>
                  <a:latin typeface="DWS Sans Light" panose="02010404010101010104" pitchFamily="50" charset="0"/>
                  <a:ea typeface="ＭＳ Ｐゴシック" pitchFamily="-109" charset="-128"/>
                  <a:cs typeface="DWS Sans Light" panose="02010404010101010104" pitchFamily="50" charset="0"/>
                </a:defRPr>
              </a:lvl1pPr>
              <a:lvl2pPr marL="0" lvl="1" indent="0" defTabSz="914400" eaLnBrk="1" hangingPunct="1">
                <a:lnSpc>
                  <a:spcPct val="100000"/>
                </a:lnSpc>
                <a:spcBef>
                  <a:spcPts val="600"/>
                </a:spcBef>
                <a:spcAft>
                  <a:spcPts val="0"/>
                </a:spcAft>
                <a:defRPr sz="900" b="1">
                  <a:solidFill>
                    <a:schemeClr val="accent2"/>
                  </a:solidFill>
                  <a:latin typeface="DWS Sans Light" panose="02010404010101010104" pitchFamily="50" charset="0"/>
                  <a:ea typeface="ＭＳ Ｐゴシック" pitchFamily="-109" charset="-128"/>
                  <a:cs typeface="DWS Sans Light" panose="02010404010101010104" pitchFamily="50" charset="0"/>
                </a:defRPr>
              </a:lvl2pPr>
              <a:lvl3pPr marL="90000" indent="-90000" eaLnBrk="1" hangingPunct="1">
                <a:lnSpc>
                  <a:spcPct val="106000"/>
                </a:lnSpc>
                <a:spcBef>
                  <a:spcPts val="200"/>
                </a:spcBef>
                <a:spcAft>
                  <a:spcPts val="0"/>
                </a:spcAft>
                <a:buFont typeface="Arial" panose="020B0604020202020204" pitchFamily="34" charset="0"/>
                <a:buChar char="_"/>
                <a:defRPr sz="1000">
                  <a:solidFill>
                    <a:schemeClr val="bg2"/>
                  </a:solidFill>
                  <a:latin typeface="+mn-lt"/>
                  <a:ea typeface="ＭＳ Ｐゴシック" pitchFamily="-109" charset="-128"/>
                </a:defRPr>
              </a:lvl3pPr>
              <a:lvl4pPr marL="180000" indent="-90000" eaLnBrk="1" hangingPunct="1">
                <a:lnSpc>
                  <a:spcPct val="106000"/>
                </a:lnSpc>
                <a:spcBef>
                  <a:spcPts val="200"/>
                </a:spcBef>
                <a:spcAft>
                  <a:spcPts val="0"/>
                </a:spcAft>
                <a:buFont typeface="Arial" panose="020B0604020202020204" pitchFamily="34" charset="0"/>
                <a:buChar char="_"/>
                <a:defRPr sz="1000">
                  <a:solidFill>
                    <a:schemeClr val="bg2"/>
                  </a:solidFill>
                  <a:latin typeface="+mn-lt"/>
                  <a:ea typeface="ＭＳ Ｐゴシック" pitchFamily="-109" charset="-128"/>
                </a:defRPr>
              </a:lvl4pPr>
              <a:lvl5pPr marL="0" indent="0" eaLnBrk="1" hangingPunct="1">
                <a:lnSpc>
                  <a:spcPct val="106000"/>
                </a:lnSpc>
                <a:spcBef>
                  <a:spcPts val="1200"/>
                </a:spcBef>
                <a:spcAft>
                  <a:spcPts val="0"/>
                </a:spcAft>
                <a:buFont typeface="Arial" panose="020B0604020202020204" pitchFamily="34" charset="0"/>
                <a:buNone/>
                <a:defRPr sz="1200">
                  <a:solidFill>
                    <a:schemeClr val="accent3"/>
                  </a:solidFill>
                  <a:latin typeface="+mn-lt"/>
                  <a:ea typeface="ＭＳ Ｐゴシック" pitchFamily="-109" charset="-128"/>
                </a:defRPr>
              </a:lvl5pPr>
              <a:lvl6pPr marL="1301711" indent="-196220" fontAlgn="base">
                <a:spcBef>
                  <a:spcPct val="10000"/>
                </a:spcBef>
                <a:spcAft>
                  <a:spcPct val="10000"/>
                </a:spcAft>
                <a:buClr>
                  <a:schemeClr val="tx2"/>
                </a:buClr>
                <a:buFont typeface="Arial" charset="0"/>
                <a:buChar char="-"/>
                <a:defRPr sz="1500">
                  <a:latin typeface="+mn-lt"/>
                </a:defRPr>
              </a:lvl6pPr>
              <a:lvl7pPr marL="1806276" indent="-196220" fontAlgn="base">
                <a:spcBef>
                  <a:spcPct val="10000"/>
                </a:spcBef>
                <a:spcAft>
                  <a:spcPct val="10000"/>
                </a:spcAft>
                <a:buClr>
                  <a:schemeClr val="tx2"/>
                </a:buClr>
                <a:buFont typeface="Arial" charset="0"/>
                <a:buChar char="-"/>
                <a:defRPr sz="1500">
                  <a:latin typeface="+mn-lt"/>
                </a:defRPr>
              </a:lvl7pPr>
              <a:lvl8pPr marL="2310842" indent="-196220" fontAlgn="base">
                <a:spcBef>
                  <a:spcPct val="10000"/>
                </a:spcBef>
                <a:spcAft>
                  <a:spcPct val="10000"/>
                </a:spcAft>
                <a:buClr>
                  <a:schemeClr val="tx2"/>
                </a:buClr>
                <a:buFont typeface="Arial" charset="0"/>
                <a:buChar char="-"/>
                <a:defRPr sz="1500">
                  <a:latin typeface="+mn-lt"/>
                </a:defRPr>
              </a:lvl8pPr>
              <a:lvl9pPr marL="2815408" indent="-196220" fontAlgn="base">
                <a:spcBef>
                  <a:spcPct val="10000"/>
                </a:spcBef>
                <a:spcAft>
                  <a:spcPct val="10000"/>
                </a:spcAft>
                <a:buClr>
                  <a:schemeClr val="tx2"/>
                </a:buClr>
                <a:buFont typeface="Arial" charset="0"/>
                <a:buChar char="-"/>
                <a:defRPr sz="1500">
                  <a:latin typeface="+mn-lt"/>
                </a:defRPr>
              </a:lvl9pPr>
            </a:lstStyle>
            <a:p>
              <a:r>
                <a:rPr lang="en-US" sz="800" b="0" dirty="0"/>
                <a:t>MSCI</a:t>
              </a:r>
              <a:r>
                <a:rPr lang="en-US" sz="800" dirty="0"/>
                <a:t> </a:t>
              </a:r>
              <a:r>
                <a:rPr lang="de-DE" sz="800" b="0" dirty="0" err="1"/>
                <a:t>Mercati</a:t>
              </a:r>
              <a:r>
                <a:rPr lang="de-DE" sz="800" b="0" dirty="0"/>
                <a:t> </a:t>
              </a:r>
              <a:r>
                <a:rPr lang="de-DE" sz="800" b="0" dirty="0" err="1"/>
                <a:t>Emergenti</a:t>
              </a:r>
              <a:br>
                <a:rPr lang="en-US" sz="800" dirty="0"/>
              </a:br>
              <a:r>
                <a:rPr lang="it-IT" sz="800" b="0" dirty="0">
                  <a:solidFill>
                    <a:schemeClr val="bg2">
                      <a:lumMod val="95000"/>
                      <a:lumOff val="5000"/>
                    </a:schemeClr>
                  </a:solidFill>
                </a:rPr>
                <a:t>Indice che monitora azioni con capitalizzazione di mercato grande e media provenienti da 23 mercati emergenti. </a:t>
              </a:r>
              <a:r>
                <a:rPr lang="en-US" sz="800" dirty="0"/>
                <a:t>
Yield</a:t>
              </a:r>
              <a:br>
                <a:rPr lang="en-US" sz="800" dirty="0"/>
              </a:br>
              <a:r>
                <a:rPr lang="it-IT" sz="800" b="0" dirty="0">
                  <a:solidFill>
                    <a:schemeClr val="bg2"/>
                  </a:solidFill>
                </a:rPr>
                <a:t>Il reddito generato da un investimento, espresso come percentuale del suo prezzo corrente. </a:t>
              </a:r>
              <a:r>
                <a:rPr lang="en-US" sz="800" dirty="0"/>
                <a:t>
S&amp;P 500 </a:t>
              </a:r>
              <a:br>
                <a:rPr lang="en-US" sz="800" dirty="0"/>
              </a:br>
              <a:r>
                <a:rPr lang="it-IT" sz="800" b="0" dirty="0">
                  <a:solidFill>
                    <a:schemeClr val="bg2">
                      <a:lumMod val="95000"/>
                      <a:lumOff val="5000"/>
                    </a:schemeClr>
                  </a:solidFill>
                </a:rPr>
                <a:t>Indice ponderato per capitalizzazione di mercato che rappresenta le 500 principali società quotate negli Stati Uniti. </a:t>
              </a:r>
              <a:r>
                <a:rPr lang="en-US" sz="800" dirty="0"/>
                <a:t>
Stoxx 600</a:t>
              </a:r>
              <a:br>
                <a:rPr lang="en-US" sz="800" dirty="0"/>
              </a:br>
              <a:r>
                <a:rPr lang="it-IT" sz="800" b="0" dirty="0">
                  <a:solidFill>
                    <a:schemeClr val="bg2">
                      <a:lumMod val="95000"/>
                      <a:lumOff val="5000"/>
                    </a:schemeClr>
                  </a:solidFill>
                </a:rPr>
                <a:t>Condividi l'indice delle società europee dei segmenti large, </a:t>
              </a:r>
              <a:r>
                <a:rPr lang="it-IT" sz="800" b="0" dirty="0" err="1">
                  <a:solidFill>
                    <a:schemeClr val="bg2">
                      <a:lumMod val="95000"/>
                      <a:lumOff val="5000"/>
                    </a:schemeClr>
                  </a:solidFill>
                </a:rPr>
                <a:t>mid</a:t>
              </a:r>
              <a:r>
                <a:rPr lang="it-IT" sz="800" b="0" dirty="0">
                  <a:solidFill>
                    <a:schemeClr val="bg2">
                      <a:lumMod val="95000"/>
                      <a:lumOff val="5000"/>
                    </a:schemeClr>
                  </a:solidFill>
                </a:rPr>
                <a:t> e small cap. </a:t>
              </a:r>
              <a:r>
                <a:rPr lang="en-US" sz="800" dirty="0"/>
                <a:t>
Volatility</a:t>
              </a:r>
              <a:br>
                <a:rPr lang="en-US" sz="800" dirty="0"/>
              </a:br>
              <a:r>
                <a:rPr lang="it-IT" sz="800" b="0" dirty="0">
                  <a:solidFill>
                    <a:schemeClr val="bg1">
                      <a:lumMod val="10000"/>
                    </a:schemeClr>
                  </a:solidFill>
                </a:rPr>
                <a:t>Una misura statistica che indica quanto i prezzi o i rendimenti fluttuano attorno al loro valore medio. Espressa in percentuale.</a:t>
              </a:r>
              <a:br>
                <a:rPr lang="de-DE" sz="800" b="0" dirty="0">
                  <a:solidFill>
                    <a:schemeClr val="bg2"/>
                  </a:solidFill>
                </a:rPr>
              </a:br>
              <a:endParaRPr lang="de-DE" sz="800" b="0" dirty="0">
                <a:solidFill>
                  <a:schemeClr val="bg2"/>
                </a:solidFill>
              </a:endParaRPr>
            </a:p>
          </p:txBody>
        </p:sp>
      </p:grpSp>
      <p:sp>
        <p:nvSpPr>
          <p:cNvPr id="90" name="Text Placeholder 10">
            <a:extLst>
              <a:ext uri="{FF2B5EF4-FFF2-40B4-BE49-F238E27FC236}">
                <a16:creationId xmlns:a16="http://schemas.microsoft.com/office/drawing/2014/main" id="{2C3D2CEC-1855-4C49-98B3-A348BF3E6ED8}"/>
              </a:ext>
            </a:extLst>
          </p:cNvPr>
          <p:cNvSpPr txBox="1">
            <a:spLocks/>
          </p:cNvSpPr>
          <p:nvPr/>
        </p:nvSpPr>
        <p:spPr bwMode="gray">
          <a:xfrm>
            <a:off x="619125" y="6561545"/>
            <a:ext cx="6335712" cy="2585323"/>
          </a:xfrm>
          <a:prstGeom prst="rect">
            <a:avLst/>
          </a:prstGeom>
        </p:spPr>
        <p:txBody>
          <a:bodyPr vert="horz" wrap="square" lIns="0" tIns="0" rIns="0" bIns="0" rtlCol="0" anchor="t">
            <a:spAutoFit/>
          </a:bodyPr>
          <a:lstStyle>
            <a:lvl1pPr algn="l" rtl="0" eaLnBrk="1" fontAlgn="base" hangingPunct="1">
              <a:lnSpc>
                <a:spcPct val="106000"/>
              </a:lnSpc>
              <a:spcBef>
                <a:spcPts val="800"/>
              </a:spcBef>
              <a:spcAft>
                <a:spcPts val="0"/>
              </a:spcAft>
              <a:defRPr sz="1000" b="1" kern="1200">
                <a:solidFill>
                  <a:schemeClr val="accent2"/>
                </a:solidFill>
                <a:latin typeface="+mn-lt"/>
                <a:ea typeface="ＭＳ Ｐゴシック" pitchFamily="-109" charset="-128"/>
                <a:cs typeface="ＭＳ Ｐゴシック" pitchFamily="-109" charset="-128"/>
              </a:defRPr>
            </a:lvl1pPr>
            <a:lvl2pPr algn="l" rtl="0" eaLnBrk="1" fontAlgn="base" hangingPunct="1">
              <a:lnSpc>
                <a:spcPct val="106000"/>
              </a:lnSpc>
              <a:spcBef>
                <a:spcPts val="200"/>
              </a:spcBef>
              <a:spcAft>
                <a:spcPts val="0"/>
              </a:spcAft>
              <a:defRPr sz="1000" kern="1200">
                <a:solidFill>
                  <a:schemeClr val="bg2"/>
                </a:solidFill>
                <a:latin typeface="+mn-lt"/>
                <a:ea typeface="ＭＳ Ｐゴシック" pitchFamily="-109" charset="-128"/>
              </a:defRPr>
            </a:lvl2pPr>
            <a:lvl3pPr marL="9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3pPr>
            <a:lvl4pPr marL="18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4pPr>
            <a:lvl5pPr marL="0" indent="0" algn="l" rtl="0" eaLnBrk="1" fontAlgn="base" hangingPunct="1">
              <a:lnSpc>
                <a:spcPct val="106000"/>
              </a:lnSpc>
              <a:spcBef>
                <a:spcPts val="1200"/>
              </a:spcBef>
              <a:spcAft>
                <a:spcPts val="0"/>
              </a:spcAft>
              <a:buFont typeface="Arial" panose="020B0604020202020204" pitchFamily="34" charset="0"/>
              <a:buNone/>
              <a:defRPr sz="12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pPr defTabSz="914400">
              <a:lnSpc>
                <a:spcPct val="100000"/>
              </a:lnSpc>
              <a:spcBef>
                <a:spcPts val="0"/>
              </a:spcBef>
            </a:pPr>
            <a:r>
              <a:rPr lang="en-GB" sz="1100" b="0" dirty="0">
                <a:solidFill>
                  <a:schemeClr val="accent3"/>
                </a:solidFill>
                <a:latin typeface="DWS Slab Light" panose="02010404010101010104" pitchFamily="50" charset="0"/>
                <a:cs typeface="DWS Slab Light" panose="02010404010101010104" pitchFamily="50" charset="0"/>
              </a:rPr>
              <a:t>Note </a:t>
            </a:r>
            <a:r>
              <a:rPr lang="en-GB" sz="1100" b="0" dirty="0" err="1">
                <a:solidFill>
                  <a:schemeClr val="accent3"/>
                </a:solidFill>
                <a:latin typeface="DWS Slab Light" panose="02010404010101010104" pitchFamily="50" charset="0"/>
                <a:cs typeface="DWS Slab Light" panose="02010404010101010104" pitchFamily="50" charset="0"/>
              </a:rPr>
              <a:t>importanti</a:t>
            </a:r>
            <a:endParaRPr lang="en-GB" sz="1100" b="0" dirty="0">
              <a:solidFill>
                <a:schemeClr val="accent3"/>
              </a:solidFill>
              <a:latin typeface="DWS Slab Light" panose="02010404010101010104" pitchFamily="50" charset="0"/>
              <a:cs typeface="DWS Slab Light" panose="02010404010101010104" pitchFamily="50" charset="0"/>
            </a:endParaRPr>
          </a:p>
          <a:p>
            <a:pPr defTabSz="914400">
              <a:lnSpc>
                <a:spcPct val="100000"/>
              </a:lnSpc>
              <a:spcBef>
                <a:spcPts val="0"/>
              </a:spcBef>
            </a:pPr>
            <a:endParaRPr lang="de-DE" sz="800" b="0" dirty="0">
              <a:solidFill>
                <a:schemeClr val="bg2"/>
              </a:solidFill>
              <a:latin typeface="DWS Sans Light" panose="02010404010101010104" pitchFamily="50" charset="0"/>
              <a:cs typeface="DWS Sans Light" panose="02010404010101010104" pitchFamily="50" charset="0"/>
            </a:endParaRPr>
          </a:p>
          <a:p>
            <a:pPr marL="0" lvl="1" indent="0" defTabSz="914400">
              <a:lnSpc>
                <a:spcPct val="100000"/>
              </a:lnSpc>
              <a:spcBef>
                <a:spcPct val="0"/>
              </a:spcBef>
            </a:pPr>
            <a:r>
              <a:rPr lang="it-IT" altLang="it-IT" sz="800" dirty="0">
                <a:latin typeface="DWS Sans Light" panose="02010404010101010104"/>
                <a:ea typeface="DWS Sans Light" panose="02010404010101010104"/>
                <a:cs typeface="DWS Sans Light" panose="02010404010101010104"/>
              </a:rPr>
              <a:t>Il documento è un materiale di marketing. DWS è il marchio con il quale operano DWS Group GmbH &amp; Co. </a:t>
            </a:r>
            <a:r>
              <a:rPr lang="it-IT" altLang="it-IT" sz="800" dirty="0" err="1">
                <a:latin typeface="DWS Sans Light" panose="02010404010101010104"/>
                <a:ea typeface="DWS Sans Light" panose="02010404010101010104"/>
                <a:cs typeface="DWS Sans Light" panose="02010404010101010104"/>
              </a:rPr>
              <a:t>KGaAe</a:t>
            </a:r>
            <a:r>
              <a:rPr lang="it-IT" altLang="it-IT" sz="800" dirty="0">
                <a:latin typeface="DWS Sans Light" panose="02010404010101010104"/>
                <a:ea typeface="DWS Sans Light" panose="02010404010101010104"/>
                <a:cs typeface="DWS Sans Light" panose="02010404010101010104"/>
              </a:rPr>
              <a:t> le sue controllate per le loro attività commerciali. I clienti riceveranno prodotti o servizi di DWS da una o più entità legali che saranno identificabili in base a contratti, accordi, offerte di materiali o altra documentazione relativa a tali prodotti o servizi. Le informazioni contenute nel presente documento non costituiscono consulenza in materia di investimenti.</a:t>
            </a:r>
          </a:p>
          <a:p>
            <a:pPr marL="0" lvl="1" indent="0" defTabSz="914400">
              <a:lnSpc>
                <a:spcPct val="100000"/>
              </a:lnSpc>
              <a:spcBef>
                <a:spcPct val="0"/>
              </a:spcBef>
            </a:pPr>
            <a:r>
              <a:rPr lang="it-IT" altLang="it-IT" sz="800" dirty="0">
                <a:latin typeface="DWS Sans Light" panose="02010404010101010104"/>
                <a:ea typeface="DWS Sans Light" panose="02010404010101010104"/>
                <a:cs typeface="DWS Sans Light" panose="02010404010101010104"/>
              </a:rPr>
              <a:t>Tutte le opinioni espresse rispecchiano la valutazione attuale di DWS Investment GmbH e sono soggette a modifiche senza preavviso. Le previsioni non costituiscono un indicatore affidabile delle performance future. Esse si basano su ipotesi, stime, opinioni e analisi delle performance ipotetiche, pertanto i risultati effettivi potrebbero variare, anche notevolmente, rispetto a quelli qui contenuti. Le performance passate, reali o simulate, non costituiscono un indicatore affidabile dei rendimenti futuri.</a:t>
            </a:r>
          </a:p>
          <a:p>
            <a:pPr marL="0" lvl="1" indent="0" defTabSz="914400">
              <a:lnSpc>
                <a:spcPct val="100000"/>
              </a:lnSpc>
              <a:spcBef>
                <a:spcPct val="0"/>
              </a:spcBef>
            </a:pPr>
            <a:r>
              <a:rPr lang="it-IT" altLang="it-IT" sz="800" dirty="0">
                <a:latin typeface="DWS Sans Light" panose="02010404010101010104"/>
                <a:ea typeface="DWS Sans Light" panose="02010404010101010104"/>
                <a:cs typeface="DWS Sans Light" panose="02010404010101010104"/>
              </a:rPr>
              <a:t>Le informazioni contenute nel presente documento non costituiscono un'analisi finanziaria, bensì sono da intendersi come una comunicazione commerciale. La presente comunicazione commerciale non è soggetta a tutte le disposizioni di legge che garantiscono l'imparzialità delle analisi finanziarie, né a eventuali divieti di negoziazione prima della pubblicazione di analisi finanziarie. Il presente documento e le informazioni in esso contenute possono essere distribuiti e pubblicati esclusivamente nei Paesi in cui la normativa vigente ne consente la distribuzione e pubblicazione. È vietata la distribuzione diretta o indiretta del presente documento negli Stati Uniti, nonché a o per conto di cittadini statunitensi e soggetti residenti negli Stati Uniti.</a:t>
            </a:r>
          </a:p>
          <a:p>
            <a:pPr marL="0" lvl="1" indent="0" defTabSz="914400">
              <a:lnSpc>
                <a:spcPct val="100000"/>
              </a:lnSpc>
              <a:spcBef>
                <a:spcPct val="0"/>
              </a:spcBef>
            </a:pPr>
            <a:r>
              <a:rPr lang="it-IT" altLang="it-IT" sz="800" dirty="0">
                <a:latin typeface="DWS Sans Light" panose="02010404010101010104"/>
                <a:ea typeface="DWS Sans Light" panose="02010404010101010104"/>
                <a:cs typeface="DWS Sans Light" panose="02010404010101010104"/>
              </a:rPr>
              <a:t>Traduzione a cura di DWS International GmbH - Milan </a:t>
            </a:r>
            <a:r>
              <a:rPr lang="it-IT" altLang="it-IT" sz="800" dirty="0" err="1">
                <a:latin typeface="DWS Sans Light" panose="02010404010101010104"/>
                <a:ea typeface="DWS Sans Light" panose="02010404010101010104"/>
                <a:cs typeface="DWS Sans Light" panose="02010404010101010104"/>
              </a:rPr>
              <a:t>Branch</a:t>
            </a:r>
            <a:r>
              <a:rPr lang="en-US" sz="800" dirty="0">
                <a:latin typeface="DWS Sans Light" panose="02010404010101010104" pitchFamily="50" charset="0"/>
                <a:cs typeface="DWS Sans Light" panose="02010404010101010104" pitchFamily="50" charset="0"/>
              </a:rPr>
              <a:t>.</a:t>
            </a:r>
          </a:p>
          <a:p>
            <a:pPr marL="0" lvl="1" indent="0" defTabSz="914400">
              <a:lnSpc>
                <a:spcPct val="100000"/>
              </a:lnSpc>
              <a:spcBef>
                <a:spcPts val="0"/>
              </a:spcBef>
            </a:pPr>
            <a:endParaRPr lang="de-DE" sz="800" dirty="0">
              <a:latin typeface="DWS Sans Light" panose="02010404010101010104" pitchFamily="50" charset="0"/>
              <a:cs typeface="DWS Sans Light" panose="02010404010101010104" pitchFamily="50" charset="0"/>
            </a:endParaRPr>
          </a:p>
          <a:p>
            <a:pPr marL="0" lvl="1" indent="0" defTabSz="914400">
              <a:lnSpc>
                <a:spcPct val="100000"/>
              </a:lnSpc>
              <a:spcBef>
                <a:spcPts val="300"/>
              </a:spcBef>
            </a:pPr>
            <a:r>
              <a:rPr lang="en-GB" sz="800" dirty="0">
                <a:latin typeface="DWS Sans Light"/>
                <a:ea typeface="ＭＳ Ｐゴシック"/>
                <a:cs typeface="DWS Sans Light" panose="02010404010101010104" pitchFamily="50" charset="0"/>
              </a:rPr>
              <a:t>DWS International GmbH al </a:t>
            </a:r>
            <a:r>
              <a:rPr lang="en-GB" sz="800">
                <a:latin typeface="DWS Sans Light"/>
                <a:ea typeface="ＭＳ Ｐゴシック"/>
                <a:cs typeface="DWS Sans Light" panose="02010404010101010104" pitchFamily="50" charset="0"/>
              </a:rPr>
              <a:t>5 Febbraio </a:t>
            </a:r>
            <a:r>
              <a:rPr lang="en-GB" sz="800" dirty="0">
                <a:latin typeface="DWS Sans Light"/>
                <a:ea typeface="ＭＳ Ｐゴシック"/>
                <a:cs typeface="DWS Sans Light" panose="02010404010101010104" pitchFamily="50" charset="0"/>
              </a:rPr>
              <a:t>2026 – </a:t>
            </a:r>
            <a:r>
              <a:rPr lang="en-GB" sz="800" dirty="0">
                <a:latin typeface="DWS Sans Light"/>
                <a:ea typeface="ＭＳ Ｐゴシック"/>
                <a:cs typeface="Arial"/>
              </a:rPr>
              <a:t>CRC 090951_14.0 (02/2026</a:t>
            </a:r>
            <a:r>
              <a:rPr lang="en-GB" sz="800" dirty="0">
                <a:latin typeface="DWS Sans Light"/>
                <a:ea typeface="ＭＳ Ｐゴシック"/>
                <a:cs typeface="DWS Sans Light" panose="02010404010101010104" pitchFamily="50" charset="0"/>
              </a:rPr>
              <a:t>)</a:t>
            </a:r>
          </a:p>
          <a:p>
            <a:pPr marL="0" lvl="1" indent="0" defTabSz="914400">
              <a:lnSpc>
                <a:spcPct val="100000"/>
              </a:lnSpc>
              <a:spcBef>
                <a:spcPts val="300"/>
              </a:spcBef>
            </a:pPr>
            <a:endParaRPr lang="de-DE" sz="800" dirty="0">
              <a:latin typeface="DWS Sans Light" panose="02010404010101010104" pitchFamily="50" charset="0"/>
              <a:cs typeface="DWS Sans Light" panose="02010404010101010104" pitchFamily="50" charset="0"/>
            </a:endParaRPr>
          </a:p>
        </p:txBody>
      </p:sp>
      <p:cxnSp>
        <p:nvCxnSpPr>
          <p:cNvPr id="95" name="Gerade Verbindung 31">
            <a:extLst>
              <a:ext uri="{FF2B5EF4-FFF2-40B4-BE49-F238E27FC236}">
                <a16:creationId xmlns:a16="http://schemas.microsoft.com/office/drawing/2014/main" id="{CAA86163-4FD3-46A0-AF38-BCD6B36833EC}"/>
              </a:ext>
            </a:extLst>
          </p:cNvPr>
          <p:cNvCxnSpPr>
            <a:cxnSpLocks/>
          </p:cNvCxnSpPr>
          <p:nvPr/>
        </p:nvCxnSpPr>
        <p:spPr bwMode="gray">
          <a:xfrm>
            <a:off x="606677" y="5748002"/>
            <a:ext cx="6336210" cy="0"/>
          </a:xfrm>
          <a:prstGeom prst="line">
            <a:avLst/>
          </a:prstGeom>
          <a:ln w="6350">
            <a:solidFill>
              <a:srgbClr val="A7B5B7"/>
            </a:solidFill>
          </a:ln>
        </p:spPr>
        <p:style>
          <a:lnRef idx="1">
            <a:schemeClr val="accent1"/>
          </a:lnRef>
          <a:fillRef idx="0">
            <a:schemeClr val="accent1"/>
          </a:fillRef>
          <a:effectRef idx="0">
            <a:schemeClr val="accent1"/>
          </a:effectRef>
          <a:fontRef idx="minor">
            <a:schemeClr val="tx1"/>
          </a:fontRef>
        </p:style>
      </p:cxnSp>
      <p:sp>
        <p:nvSpPr>
          <p:cNvPr id="169" name="Text Placeholder 10">
            <a:extLst>
              <a:ext uri="{FF2B5EF4-FFF2-40B4-BE49-F238E27FC236}">
                <a16:creationId xmlns:a16="http://schemas.microsoft.com/office/drawing/2014/main" id="{57082766-5328-4AB4-89D2-93D55BF5C93F}"/>
              </a:ext>
            </a:extLst>
          </p:cNvPr>
          <p:cNvSpPr txBox="1">
            <a:spLocks/>
          </p:cNvSpPr>
          <p:nvPr/>
        </p:nvSpPr>
        <p:spPr bwMode="gray">
          <a:xfrm>
            <a:off x="613353" y="4171254"/>
            <a:ext cx="6336210" cy="673133"/>
          </a:xfrm>
          <a:prstGeom prst="rect">
            <a:avLst/>
          </a:prstGeom>
        </p:spPr>
        <p:txBody>
          <a:bodyPr vert="horz" wrap="square" lIns="0" tIns="0" rIns="0" bIns="0" rtlCol="0">
            <a:spAutoFit/>
          </a:bodyPr>
          <a:lstStyle>
            <a:lvl1pPr algn="l" rtl="0" eaLnBrk="1" fontAlgn="base" hangingPunct="1">
              <a:lnSpc>
                <a:spcPct val="106000"/>
              </a:lnSpc>
              <a:spcBef>
                <a:spcPts val="800"/>
              </a:spcBef>
              <a:spcAft>
                <a:spcPts val="0"/>
              </a:spcAft>
              <a:defRPr sz="1000" b="1" kern="1200">
                <a:solidFill>
                  <a:schemeClr val="accent2"/>
                </a:solidFill>
                <a:latin typeface="+mn-lt"/>
                <a:ea typeface="ＭＳ Ｐゴシック" pitchFamily="-109" charset="-128"/>
                <a:cs typeface="ＭＳ Ｐゴシック" pitchFamily="-109" charset="-128"/>
              </a:defRPr>
            </a:lvl1pPr>
            <a:lvl2pPr algn="l" rtl="0" eaLnBrk="1" fontAlgn="base" hangingPunct="1">
              <a:lnSpc>
                <a:spcPct val="106000"/>
              </a:lnSpc>
              <a:spcBef>
                <a:spcPts val="200"/>
              </a:spcBef>
              <a:spcAft>
                <a:spcPts val="0"/>
              </a:spcAft>
              <a:defRPr sz="1000" kern="1200">
                <a:solidFill>
                  <a:schemeClr val="bg2"/>
                </a:solidFill>
                <a:latin typeface="+mn-lt"/>
                <a:ea typeface="ＭＳ Ｐゴシック" pitchFamily="-109" charset="-128"/>
              </a:defRPr>
            </a:lvl2pPr>
            <a:lvl3pPr marL="9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3pPr>
            <a:lvl4pPr marL="18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4pPr>
            <a:lvl5pPr marL="0" indent="0" algn="l" rtl="0" eaLnBrk="1" fontAlgn="base" hangingPunct="1">
              <a:lnSpc>
                <a:spcPct val="106000"/>
              </a:lnSpc>
              <a:spcBef>
                <a:spcPts val="1200"/>
              </a:spcBef>
              <a:spcAft>
                <a:spcPts val="0"/>
              </a:spcAft>
              <a:buFont typeface="Arial" panose="020B0604020202020204" pitchFamily="34" charset="0"/>
              <a:buNone/>
              <a:defRPr sz="12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pPr marL="0" lvl="1" indent="0" defTabSz="914400"/>
            <a:r>
              <a:rPr lang="en-GB" sz="1050" dirty="0">
                <a:latin typeface="DWS Sans Light" panose="02010404010101010104" pitchFamily="50" charset="0"/>
                <a:cs typeface="DWS Sans Light" panose="02010404010101010104" pitchFamily="50" charset="0"/>
              </a:rPr>
              <a:t>La view </a:t>
            </a:r>
            <a:r>
              <a:rPr lang="en-GB" sz="1050" dirty="0" err="1">
                <a:latin typeface="DWS Sans Light" panose="02010404010101010104" pitchFamily="50" charset="0"/>
                <a:cs typeface="DWS Sans Light" panose="02010404010101010104" pitchFamily="50" charset="0"/>
              </a:rPr>
              <a:t>strategica</a:t>
            </a:r>
            <a:r>
              <a:rPr lang="en-GB" sz="1050" dirty="0">
                <a:latin typeface="DWS Sans Light" panose="02010404010101010104" pitchFamily="50" charset="0"/>
                <a:cs typeface="DWS Sans Light" panose="02010404010101010104" pitchFamily="50" charset="0"/>
              </a:rPr>
              <a:t> di Febbraio 2026</a:t>
            </a:r>
          </a:p>
          <a:p>
            <a:pPr marL="0" lvl="1" indent="0" defTabSz="914400"/>
            <a:r>
              <a:rPr lang="it-IT" altLang="it-IT" sz="900" dirty="0">
                <a:latin typeface="DWS Sans Light" panose="02010404010101010104"/>
                <a:ea typeface="DWS Sans Light" panose="02010404010101010104"/>
                <a:cs typeface="DWS Sans Light" panose="02010404010101010104"/>
              </a:rPr>
              <a:t>Gli indicatori segnalano se DWS prevede che la classe di attivi in questione registrerà un andamento al rialzo, laterale o al ribasso. Essi indicano il potenziale di rendimento atteso sia a breve che a lungo termine per gli investitori. </a:t>
            </a:r>
          </a:p>
          <a:p>
            <a:pPr marL="0" lvl="1" indent="0" defTabSz="914400"/>
            <a:r>
              <a:rPr lang="it-IT" sz="900" dirty="0">
                <a:latin typeface="DWS Sans Light" panose="02010404010101010104" pitchFamily="50" charset="0"/>
                <a:cs typeface="DWS Sans Light" panose="02010404010101010104" pitchFamily="50" charset="0"/>
              </a:rPr>
              <a:t>Fonte: DWS Investment GmbH; CIO Office, aggiornato al </a:t>
            </a:r>
            <a:r>
              <a:rPr lang="en-GB" sz="900" dirty="0">
                <a:latin typeface="DWS Sans Light" panose="02010404010101010104" pitchFamily="50" charset="0"/>
                <a:cs typeface="DWS Sans Light" panose="02010404010101010104" pitchFamily="50" charset="0"/>
              </a:rPr>
              <a:t>5 Febbraio 2026</a:t>
            </a:r>
          </a:p>
        </p:txBody>
      </p:sp>
      <p:sp>
        <p:nvSpPr>
          <p:cNvPr id="170" name="Rechteck 169"/>
          <p:cNvSpPr/>
          <p:nvPr/>
        </p:nvSpPr>
        <p:spPr>
          <a:xfrm>
            <a:off x="531088" y="3855216"/>
            <a:ext cx="715260" cy="261610"/>
          </a:xfrm>
          <a:prstGeom prst="rect">
            <a:avLst/>
          </a:prstGeom>
        </p:spPr>
        <p:txBody>
          <a:bodyPr/>
          <a:lstStyle/>
          <a:p>
            <a:pPr defTabSz="914400">
              <a:lnSpc>
                <a:spcPct val="95000"/>
              </a:lnSpc>
            </a:pPr>
            <a:r>
              <a:rPr lang="de-DE" sz="1100" dirty="0">
                <a:solidFill>
                  <a:schemeClr val="accent3"/>
                </a:solidFill>
                <a:latin typeface="DWS Slab Light" panose="02010404010101010104" pitchFamily="50" charset="0"/>
                <a:ea typeface="ＭＳ Ｐゴシック" pitchFamily="-109" charset="-128"/>
                <a:cs typeface="DWS Slab Light" panose="02010404010101010104" pitchFamily="50" charset="0"/>
              </a:rPr>
              <a:t>Legenda</a:t>
            </a:r>
          </a:p>
        </p:txBody>
      </p:sp>
      <p:sp>
        <p:nvSpPr>
          <p:cNvPr id="172" name="Title 9">
            <a:extLst>
              <a:ext uri="{FF2B5EF4-FFF2-40B4-BE49-F238E27FC236}">
                <a16:creationId xmlns:a16="http://schemas.microsoft.com/office/drawing/2014/main" id="{2D3F55D3-DF9A-4304-A100-67FB386E88AF}"/>
              </a:ext>
            </a:extLst>
          </p:cNvPr>
          <p:cNvSpPr txBox="1">
            <a:spLocks/>
          </p:cNvSpPr>
          <p:nvPr/>
        </p:nvSpPr>
        <p:spPr>
          <a:xfrm>
            <a:off x="612775" y="659429"/>
            <a:ext cx="6335713" cy="298827"/>
          </a:xfrm>
          <a:prstGeom prst="rect">
            <a:avLst/>
          </a:prstGeom>
        </p:spPr>
        <p:txBody>
          <a:bodyPr lIns="0" tIns="0" rIns="0" bIns="0"/>
          <a:lstStyle>
            <a:lvl1pPr algn="l" rtl="0" eaLnBrk="1" fontAlgn="base" hangingPunct="1">
              <a:lnSpc>
                <a:spcPct val="95000"/>
              </a:lnSpc>
              <a:spcBef>
                <a:spcPct val="0"/>
              </a:spcBef>
              <a:spcAft>
                <a:spcPct val="0"/>
              </a:spcAft>
              <a:defRPr sz="1600" kern="1200">
                <a:solidFill>
                  <a:schemeClr val="bg2"/>
                </a:solidFill>
                <a:latin typeface="+mn-lt"/>
                <a:ea typeface="ＭＳ Ｐゴシック" pitchFamily="34" charset="-128"/>
                <a:cs typeface="ＭＳ Ｐゴシック" pitchFamily="-109" charset="-128"/>
              </a:defRPr>
            </a:lvl1pPr>
            <a:lvl2pPr algn="l" rtl="0" eaLnBrk="1" fontAlgn="base" hangingPunct="1">
              <a:lnSpc>
                <a:spcPct val="90000"/>
              </a:lnSpc>
              <a:spcBef>
                <a:spcPct val="0"/>
              </a:spcBef>
              <a:spcAft>
                <a:spcPct val="0"/>
              </a:spcAft>
              <a:defRPr sz="2600">
                <a:solidFill>
                  <a:schemeClr val="tx1"/>
                </a:solidFill>
                <a:latin typeface="Arial" charset="0"/>
                <a:ea typeface="ＭＳ Ｐゴシック" pitchFamily="34" charset="-128"/>
                <a:cs typeface="ＭＳ Ｐゴシック" pitchFamily="-109" charset="-128"/>
              </a:defRPr>
            </a:lvl2pPr>
            <a:lvl3pPr algn="l" rtl="0" eaLnBrk="1" fontAlgn="base" hangingPunct="1">
              <a:lnSpc>
                <a:spcPct val="90000"/>
              </a:lnSpc>
              <a:spcBef>
                <a:spcPct val="0"/>
              </a:spcBef>
              <a:spcAft>
                <a:spcPct val="0"/>
              </a:spcAft>
              <a:defRPr sz="2600">
                <a:solidFill>
                  <a:schemeClr val="tx1"/>
                </a:solidFill>
                <a:latin typeface="Arial" charset="0"/>
                <a:ea typeface="ＭＳ Ｐゴシック" pitchFamily="34" charset="-128"/>
                <a:cs typeface="ＭＳ Ｐゴシック" pitchFamily="-109" charset="-128"/>
              </a:defRPr>
            </a:lvl3pPr>
            <a:lvl4pPr algn="l" rtl="0" eaLnBrk="1" fontAlgn="base" hangingPunct="1">
              <a:lnSpc>
                <a:spcPct val="90000"/>
              </a:lnSpc>
              <a:spcBef>
                <a:spcPct val="0"/>
              </a:spcBef>
              <a:spcAft>
                <a:spcPct val="0"/>
              </a:spcAft>
              <a:defRPr sz="2600">
                <a:solidFill>
                  <a:schemeClr val="tx1"/>
                </a:solidFill>
                <a:latin typeface="Arial" charset="0"/>
                <a:ea typeface="ＭＳ Ｐゴシック" pitchFamily="34" charset="-128"/>
                <a:cs typeface="ＭＳ Ｐゴシック" pitchFamily="-109" charset="-128"/>
              </a:defRPr>
            </a:lvl4pPr>
            <a:lvl5pPr algn="l" rtl="0" eaLnBrk="1" fontAlgn="base" hangingPunct="1">
              <a:lnSpc>
                <a:spcPct val="90000"/>
              </a:lnSpc>
              <a:spcBef>
                <a:spcPct val="0"/>
              </a:spcBef>
              <a:spcAft>
                <a:spcPct val="0"/>
              </a:spcAft>
              <a:defRPr sz="2600">
                <a:solidFill>
                  <a:schemeClr val="tx1"/>
                </a:solidFill>
                <a:latin typeface="Arial" charset="0"/>
                <a:ea typeface="ＭＳ Ｐゴシック" pitchFamily="34" charset="-128"/>
                <a:cs typeface="ＭＳ Ｐゴシック" pitchFamily="-109" charset="-128"/>
              </a:defRPr>
            </a:lvl5pPr>
            <a:lvl6pPr marL="504566" algn="l" rtl="0" eaLnBrk="1" fontAlgn="base" hangingPunct="1">
              <a:lnSpc>
                <a:spcPct val="90000"/>
              </a:lnSpc>
              <a:spcBef>
                <a:spcPct val="0"/>
              </a:spcBef>
              <a:spcAft>
                <a:spcPct val="0"/>
              </a:spcAft>
              <a:tabLst>
                <a:tab pos="735825" algn="l"/>
              </a:tabLst>
              <a:defRPr sz="2600" b="1">
                <a:solidFill>
                  <a:schemeClr val="tx1"/>
                </a:solidFill>
                <a:latin typeface="Arial" charset="0"/>
              </a:defRPr>
            </a:lvl6pPr>
            <a:lvl7pPr marL="1009132" algn="l" rtl="0" eaLnBrk="1" fontAlgn="base" hangingPunct="1">
              <a:lnSpc>
                <a:spcPct val="90000"/>
              </a:lnSpc>
              <a:spcBef>
                <a:spcPct val="0"/>
              </a:spcBef>
              <a:spcAft>
                <a:spcPct val="0"/>
              </a:spcAft>
              <a:tabLst>
                <a:tab pos="735825" algn="l"/>
              </a:tabLst>
              <a:defRPr sz="2600" b="1">
                <a:solidFill>
                  <a:schemeClr val="tx1"/>
                </a:solidFill>
                <a:latin typeface="Arial" charset="0"/>
              </a:defRPr>
            </a:lvl7pPr>
            <a:lvl8pPr marL="1513698" algn="l" rtl="0" eaLnBrk="1" fontAlgn="base" hangingPunct="1">
              <a:lnSpc>
                <a:spcPct val="90000"/>
              </a:lnSpc>
              <a:spcBef>
                <a:spcPct val="0"/>
              </a:spcBef>
              <a:spcAft>
                <a:spcPct val="0"/>
              </a:spcAft>
              <a:tabLst>
                <a:tab pos="735825" algn="l"/>
              </a:tabLst>
              <a:defRPr sz="2600" b="1">
                <a:solidFill>
                  <a:schemeClr val="tx1"/>
                </a:solidFill>
                <a:latin typeface="Arial" charset="0"/>
              </a:defRPr>
            </a:lvl8pPr>
            <a:lvl9pPr marL="2018264" algn="l" rtl="0" eaLnBrk="1" fontAlgn="base" hangingPunct="1">
              <a:lnSpc>
                <a:spcPct val="90000"/>
              </a:lnSpc>
              <a:spcBef>
                <a:spcPct val="0"/>
              </a:spcBef>
              <a:spcAft>
                <a:spcPct val="0"/>
              </a:spcAft>
              <a:tabLst>
                <a:tab pos="735825" algn="l"/>
              </a:tabLst>
              <a:defRPr sz="2600" b="1">
                <a:solidFill>
                  <a:schemeClr val="tx1"/>
                </a:solidFill>
                <a:latin typeface="Arial" charset="0"/>
              </a:defRPr>
            </a:lvl9pPr>
          </a:lstStyle>
          <a:p>
            <a:pPr defTabSz="914400"/>
            <a:r>
              <a:rPr lang="en-ZA" sz="1100" dirty="0" err="1">
                <a:solidFill>
                  <a:schemeClr val="accent3"/>
                </a:solidFill>
                <a:latin typeface="DWS Slab Light" panose="02010404010101010104" pitchFamily="50" charset="0"/>
                <a:ea typeface="ＭＳ Ｐゴシック" pitchFamily="-109" charset="-128"/>
                <a:cs typeface="DWS Slab Light" panose="02010404010101010104" pitchFamily="50" charset="0"/>
              </a:rPr>
              <a:t>Glossario</a:t>
            </a:r>
            <a:endParaRPr lang="en-ZA" sz="1100" dirty="0">
              <a:solidFill>
                <a:schemeClr val="accent3"/>
              </a:solidFill>
              <a:latin typeface="DWS Slab Light" panose="02010404010101010104" pitchFamily="50" charset="0"/>
              <a:ea typeface="ＭＳ Ｐゴシック" pitchFamily="-109" charset="-128"/>
              <a:cs typeface="DWS Slab Light" panose="02010404010101010104" pitchFamily="50" charset="0"/>
            </a:endParaRPr>
          </a:p>
        </p:txBody>
      </p:sp>
      <p:cxnSp>
        <p:nvCxnSpPr>
          <p:cNvPr id="175" name="Gerade Verbindung 31">
            <a:extLst>
              <a:ext uri="{FF2B5EF4-FFF2-40B4-BE49-F238E27FC236}">
                <a16:creationId xmlns:a16="http://schemas.microsoft.com/office/drawing/2014/main" id="{CAA86163-4FD3-46A0-AF38-BCD6B36833EC}"/>
              </a:ext>
            </a:extLst>
          </p:cNvPr>
          <p:cNvCxnSpPr>
            <a:cxnSpLocks/>
          </p:cNvCxnSpPr>
          <p:nvPr/>
        </p:nvCxnSpPr>
        <p:spPr bwMode="gray">
          <a:xfrm>
            <a:off x="612775" y="4117818"/>
            <a:ext cx="6335713" cy="0"/>
          </a:xfrm>
          <a:prstGeom prst="line">
            <a:avLst/>
          </a:prstGeom>
          <a:ln w="6350">
            <a:solidFill>
              <a:srgbClr val="A7B5B7"/>
            </a:solidFill>
          </a:ln>
        </p:spPr>
        <p:style>
          <a:lnRef idx="1">
            <a:schemeClr val="accent1"/>
          </a:lnRef>
          <a:fillRef idx="0">
            <a:schemeClr val="accent1"/>
          </a:fillRef>
          <a:effectRef idx="0">
            <a:schemeClr val="accent1"/>
          </a:effectRef>
          <a:fontRef idx="minor">
            <a:schemeClr val="tx1"/>
          </a:fontRef>
        </p:style>
      </p:cxnSp>
      <p:sp>
        <p:nvSpPr>
          <p:cNvPr id="87" name="Foliennummernplatzhalter 2"/>
          <p:cNvSpPr>
            <a:spLocks noGrp="1"/>
          </p:cNvSpPr>
          <p:nvPr>
            <p:ph type="sldNum" sz="quarter" idx="10"/>
          </p:nvPr>
        </p:nvSpPr>
        <p:spPr>
          <a:xfrm>
            <a:off x="6850373" y="10393363"/>
            <a:ext cx="91765" cy="107722"/>
          </a:xfrm>
        </p:spPr>
        <p:txBody>
          <a:bodyPr/>
          <a:lstStyle/>
          <a:p>
            <a:pPr algn="r"/>
            <a:r>
              <a:rPr lang="de-DE" dirty="0">
                <a:latin typeface="DWS Sans Light" panose="02010404010101010104"/>
              </a:rPr>
              <a:t>4</a:t>
            </a:r>
          </a:p>
        </p:txBody>
      </p:sp>
      <p:sp>
        <p:nvSpPr>
          <p:cNvPr id="7" name="Text Placeholder 10">
            <a:extLst>
              <a:ext uri="{FF2B5EF4-FFF2-40B4-BE49-F238E27FC236}">
                <a16:creationId xmlns:a16="http://schemas.microsoft.com/office/drawing/2014/main" id="{FBA52C80-2A81-9DEE-7DD2-5399A361CA12}"/>
              </a:ext>
            </a:extLst>
          </p:cNvPr>
          <p:cNvSpPr txBox="1">
            <a:spLocks/>
          </p:cNvSpPr>
          <p:nvPr/>
        </p:nvSpPr>
        <p:spPr bwMode="gray">
          <a:xfrm>
            <a:off x="1232974" y="5291838"/>
            <a:ext cx="1116044" cy="279115"/>
          </a:xfrm>
          <a:prstGeom prst="rect">
            <a:avLst/>
          </a:prstGeom>
        </p:spPr>
        <p:txBody>
          <a:bodyPr vert="horz" wrap="square" lIns="0" tIns="0" rIns="0" bIns="0" rtlCol="0" anchor="ctr" anchorCtr="0">
            <a:spAutoFit/>
          </a:bodyPr>
          <a:lstStyle>
            <a:lvl1pPr algn="l" rtl="0" eaLnBrk="1" fontAlgn="base" hangingPunct="1">
              <a:lnSpc>
                <a:spcPct val="106000"/>
              </a:lnSpc>
              <a:spcBef>
                <a:spcPts val="800"/>
              </a:spcBef>
              <a:spcAft>
                <a:spcPts val="0"/>
              </a:spcAft>
              <a:defRPr sz="1000" b="1" kern="1200">
                <a:solidFill>
                  <a:schemeClr val="accent2"/>
                </a:solidFill>
                <a:latin typeface="+mn-lt"/>
                <a:ea typeface="ＭＳ Ｐゴシック" pitchFamily="-109" charset="-128"/>
                <a:cs typeface="ＭＳ Ｐゴシック" pitchFamily="-109" charset="-128"/>
              </a:defRPr>
            </a:lvl1pPr>
            <a:lvl2pPr algn="l" rtl="0" eaLnBrk="1" fontAlgn="base" hangingPunct="1">
              <a:lnSpc>
                <a:spcPct val="106000"/>
              </a:lnSpc>
              <a:spcBef>
                <a:spcPts val="200"/>
              </a:spcBef>
              <a:spcAft>
                <a:spcPts val="0"/>
              </a:spcAft>
              <a:defRPr sz="1000" kern="1200">
                <a:solidFill>
                  <a:schemeClr val="bg2"/>
                </a:solidFill>
                <a:latin typeface="+mn-lt"/>
                <a:ea typeface="ＭＳ Ｐゴシック" pitchFamily="-109" charset="-128"/>
              </a:defRPr>
            </a:lvl2pPr>
            <a:lvl3pPr marL="9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3pPr>
            <a:lvl4pPr marL="18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4pPr>
            <a:lvl5pPr marL="0" indent="0" algn="l" rtl="0" eaLnBrk="1" fontAlgn="base" hangingPunct="1">
              <a:lnSpc>
                <a:spcPct val="106000"/>
              </a:lnSpc>
              <a:spcBef>
                <a:spcPts val="1200"/>
              </a:spcBef>
              <a:spcAft>
                <a:spcPts val="0"/>
              </a:spcAft>
              <a:buFont typeface="Arial" panose="020B0604020202020204" pitchFamily="34" charset="0"/>
              <a:buNone/>
              <a:defRPr sz="12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r>
              <a:rPr lang="it-IT" sz="900" b="0" dirty="0">
                <a:solidFill>
                  <a:schemeClr val="bg2"/>
                </a:solidFill>
                <a:latin typeface="DWS Sans Light" panose="02010404010101010104" pitchFamily="50" charset="0"/>
                <a:cs typeface="DWS Sans Light" panose="02010404010101010104" pitchFamily="50" charset="0"/>
              </a:rPr>
              <a:t>Potenziale di rendimento positivo</a:t>
            </a:r>
          </a:p>
        </p:txBody>
      </p:sp>
      <p:sp>
        <p:nvSpPr>
          <p:cNvPr id="8" name="Text Placeholder 10">
            <a:extLst>
              <a:ext uri="{FF2B5EF4-FFF2-40B4-BE49-F238E27FC236}">
                <a16:creationId xmlns:a16="http://schemas.microsoft.com/office/drawing/2014/main" id="{DD5EBC64-7BF4-D5EA-1010-312C16C50B22}"/>
              </a:ext>
            </a:extLst>
          </p:cNvPr>
          <p:cNvSpPr txBox="1">
            <a:spLocks/>
          </p:cNvSpPr>
          <p:nvPr/>
        </p:nvSpPr>
        <p:spPr bwMode="gray">
          <a:xfrm>
            <a:off x="3374721" y="5228107"/>
            <a:ext cx="1319437" cy="440505"/>
          </a:xfrm>
          <a:prstGeom prst="rect">
            <a:avLst/>
          </a:prstGeom>
        </p:spPr>
        <p:txBody>
          <a:bodyPr vert="horz" wrap="square" lIns="0" tIns="0" rIns="0" bIns="0" rtlCol="0" anchor="ctr" anchorCtr="0">
            <a:spAutoFit/>
          </a:bodyPr>
          <a:lstStyle>
            <a:lvl1pPr algn="l" rtl="0" eaLnBrk="1" fontAlgn="base" hangingPunct="1">
              <a:lnSpc>
                <a:spcPct val="106000"/>
              </a:lnSpc>
              <a:spcBef>
                <a:spcPts val="800"/>
              </a:spcBef>
              <a:spcAft>
                <a:spcPts val="0"/>
              </a:spcAft>
              <a:defRPr sz="1000" b="1" kern="1200">
                <a:solidFill>
                  <a:schemeClr val="accent2"/>
                </a:solidFill>
                <a:latin typeface="+mn-lt"/>
                <a:ea typeface="ＭＳ Ｐゴシック" pitchFamily="-109" charset="-128"/>
                <a:cs typeface="ＭＳ Ｐゴシック" pitchFamily="-109" charset="-128"/>
              </a:defRPr>
            </a:lvl1pPr>
            <a:lvl2pPr algn="l" rtl="0" eaLnBrk="1" fontAlgn="base" hangingPunct="1">
              <a:lnSpc>
                <a:spcPct val="106000"/>
              </a:lnSpc>
              <a:spcBef>
                <a:spcPts val="200"/>
              </a:spcBef>
              <a:spcAft>
                <a:spcPts val="0"/>
              </a:spcAft>
              <a:defRPr sz="1000" kern="1200">
                <a:solidFill>
                  <a:schemeClr val="bg2"/>
                </a:solidFill>
                <a:latin typeface="+mn-lt"/>
                <a:ea typeface="ＭＳ Ｐゴシック" pitchFamily="-109" charset="-128"/>
              </a:defRPr>
            </a:lvl2pPr>
            <a:lvl3pPr marL="9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3pPr>
            <a:lvl4pPr marL="18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4pPr>
            <a:lvl5pPr marL="0" indent="0" algn="l" rtl="0" eaLnBrk="1" fontAlgn="base" hangingPunct="1">
              <a:lnSpc>
                <a:spcPct val="106000"/>
              </a:lnSpc>
              <a:spcBef>
                <a:spcPts val="1200"/>
              </a:spcBef>
              <a:spcAft>
                <a:spcPts val="0"/>
              </a:spcAft>
              <a:buFont typeface="Arial" panose="020B0604020202020204" pitchFamily="34" charset="0"/>
              <a:buNone/>
              <a:defRPr sz="12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r>
              <a:rPr lang="it-IT" sz="900" b="0" dirty="0">
                <a:solidFill>
                  <a:schemeClr val="bg2"/>
                </a:solidFill>
                <a:latin typeface="DWS Sans Light" panose="02010404010101010104" pitchFamily="50" charset="0"/>
                <a:cs typeface="DWS Sans Light" panose="02010404010101010104" pitchFamily="50" charset="0"/>
              </a:rPr>
              <a:t>Potenziali profitti, ma anche rischi di perdite limitato</a:t>
            </a:r>
          </a:p>
        </p:txBody>
      </p:sp>
      <p:sp>
        <p:nvSpPr>
          <p:cNvPr id="9" name="Text Placeholder 10">
            <a:extLst>
              <a:ext uri="{FF2B5EF4-FFF2-40B4-BE49-F238E27FC236}">
                <a16:creationId xmlns:a16="http://schemas.microsoft.com/office/drawing/2014/main" id="{130579C4-1019-2CEA-05F8-DA6939105405}"/>
              </a:ext>
            </a:extLst>
          </p:cNvPr>
          <p:cNvSpPr txBox="1">
            <a:spLocks/>
          </p:cNvSpPr>
          <p:nvPr/>
        </p:nvSpPr>
        <p:spPr bwMode="gray">
          <a:xfrm>
            <a:off x="5705203" y="5305941"/>
            <a:ext cx="1247439" cy="279115"/>
          </a:xfrm>
          <a:prstGeom prst="rect">
            <a:avLst/>
          </a:prstGeom>
        </p:spPr>
        <p:txBody>
          <a:bodyPr vert="horz" wrap="square" lIns="0" tIns="0" rIns="0" bIns="0" rtlCol="0" anchor="ctr" anchorCtr="0">
            <a:spAutoFit/>
          </a:bodyPr>
          <a:lstStyle>
            <a:lvl1pPr algn="l" rtl="0" eaLnBrk="1" fontAlgn="base" hangingPunct="1">
              <a:lnSpc>
                <a:spcPct val="106000"/>
              </a:lnSpc>
              <a:spcBef>
                <a:spcPts val="800"/>
              </a:spcBef>
              <a:spcAft>
                <a:spcPts val="0"/>
              </a:spcAft>
              <a:defRPr sz="1000" b="1" kern="1200">
                <a:solidFill>
                  <a:schemeClr val="accent2"/>
                </a:solidFill>
                <a:latin typeface="+mn-lt"/>
                <a:ea typeface="ＭＳ Ｐゴシック" pitchFamily="-109" charset="-128"/>
                <a:cs typeface="ＭＳ Ｐゴシック" pitchFamily="-109" charset="-128"/>
              </a:defRPr>
            </a:lvl1pPr>
            <a:lvl2pPr algn="l" rtl="0" eaLnBrk="1" fontAlgn="base" hangingPunct="1">
              <a:lnSpc>
                <a:spcPct val="106000"/>
              </a:lnSpc>
              <a:spcBef>
                <a:spcPts val="200"/>
              </a:spcBef>
              <a:spcAft>
                <a:spcPts val="0"/>
              </a:spcAft>
              <a:defRPr sz="1000" kern="1200">
                <a:solidFill>
                  <a:schemeClr val="bg2"/>
                </a:solidFill>
                <a:latin typeface="+mn-lt"/>
                <a:ea typeface="ＭＳ Ｐゴシック" pitchFamily="-109" charset="-128"/>
              </a:defRPr>
            </a:lvl2pPr>
            <a:lvl3pPr marL="9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3pPr>
            <a:lvl4pPr marL="180000" indent="-90000" algn="l" rtl="0" eaLnBrk="1" fontAlgn="base" hangingPunct="1">
              <a:lnSpc>
                <a:spcPct val="106000"/>
              </a:lnSpc>
              <a:spcBef>
                <a:spcPts val="200"/>
              </a:spcBef>
              <a:spcAft>
                <a:spcPts val="0"/>
              </a:spcAft>
              <a:buFont typeface="Arial" panose="020B0604020202020204" pitchFamily="34" charset="0"/>
              <a:buChar char="_"/>
              <a:defRPr sz="1000" kern="1200">
                <a:solidFill>
                  <a:schemeClr val="bg2"/>
                </a:solidFill>
                <a:latin typeface="+mn-lt"/>
                <a:ea typeface="ＭＳ Ｐゴシック" pitchFamily="-109" charset="-128"/>
              </a:defRPr>
            </a:lvl4pPr>
            <a:lvl5pPr marL="0" indent="0" algn="l" rtl="0" eaLnBrk="1" fontAlgn="base" hangingPunct="1">
              <a:lnSpc>
                <a:spcPct val="106000"/>
              </a:lnSpc>
              <a:spcBef>
                <a:spcPts val="1200"/>
              </a:spcBef>
              <a:spcAft>
                <a:spcPts val="0"/>
              </a:spcAft>
              <a:buFont typeface="Arial" panose="020B0604020202020204" pitchFamily="34" charset="0"/>
              <a:buNone/>
              <a:defRPr sz="1200" kern="1200">
                <a:solidFill>
                  <a:schemeClr val="accent3"/>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pPr marL="0" lvl="1" indent="0" defTabSz="914400"/>
            <a:r>
              <a:rPr lang="it-IT" sz="900" dirty="0">
                <a:latin typeface="DWS Sans Light" panose="02010404010101010104" pitchFamily="50" charset="0"/>
                <a:cs typeface="DWS Sans Light" panose="02010404010101010104" pitchFamily="50" charset="0"/>
              </a:rPr>
              <a:t>Potenziale di rendimento negativo</a:t>
            </a:r>
            <a:endParaRPr lang="en-GB" sz="900" dirty="0">
              <a:latin typeface="DWS Sans Light" panose="02010404010101010104" pitchFamily="50" charset="0"/>
              <a:cs typeface="DWS Sans Light" panose="02010404010101010104" pitchFamily="50" charset="0"/>
            </a:endParaRPr>
          </a:p>
        </p:txBody>
      </p:sp>
      <p:grpSp>
        <p:nvGrpSpPr>
          <p:cNvPr id="10" name="Gruppieren 9">
            <a:extLst>
              <a:ext uri="{FF2B5EF4-FFF2-40B4-BE49-F238E27FC236}">
                <a16:creationId xmlns:a16="http://schemas.microsoft.com/office/drawing/2014/main" id="{12FA1C79-7E3A-5B43-B14F-7583DA84344C}"/>
              </a:ext>
            </a:extLst>
          </p:cNvPr>
          <p:cNvGrpSpPr/>
          <p:nvPr/>
        </p:nvGrpSpPr>
        <p:grpSpPr>
          <a:xfrm>
            <a:off x="2616371" y="4950877"/>
            <a:ext cx="760242" cy="951333"/>
            <a:chOff x="496495" y="2949579"/>
            <a:chExt cx="760242" cy="951333"/>
          </a:xfrm>
        </p:grpSpPr>
        <p:grpSp>
          <p:nvGrpSpPr>
            <p:cNvPr id="11" name="Group 52">
              <a:extLst>
                <a:ext uri="{FF2B5EF4-FFF2-40B4-BE49-F238E27FC236}">
                  <a16:creationId xmlns:a16="http://schemas.microsoft.com/office/drawing/2014/main" id="{0C8E82C2-755B-92F4-A4DC-BFC95A4EFB68}"/>
                </a:ext>
              </a:extLst>
            </p:cNvPr>
            <p:cNvGrpSpPr/>
            <p:nvPr/>
          </p:nvGrpSpPr>
          <p:grpSpPr>
            <a:xfrm>
              <a:off x="496495" y="2949579"/>
              <a:ext cx="750232" cy="459155"/>
              <a:chOff x="1257423" y="1425917"/>
              <a:chExt cx="1120412" cy="685640"/>
            </a:xfrm>
          </p:grpSpPr>
          <p:sp>
            <p:nvSpPr>
              <p:cNvPr id="17" name="Rechteck 273">
                <a:extLst>
                  <a:ext uri="{FF2B5EF4-FFF2-40B4-BE49-F238E27FC236}">
                    <a16:creationId xmlns:a16="http://schemas.microsoft.com/office/drawing/2014/main" id="{F55988EB-D5F9-EBB8-49EA-C7FA6CD513A6}"/>
                  </a:ext>
                </a:extLst>
              </p:cNvPr>
              <p:cNvSpPr/>
              <p:nvPr/>
            </p:nvSpPr>
            <p:spPr>
              <a:xfrm>
                <a:off x="1257423" y="1890091"/>
                <a:ext cx="1120412" cy="221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bg1"/>
                  </a:buClr>
                </a:pPr>
                <a:r>
                  <a:rPr lang="en-GB" sz="700" dirty="0">
                    <a:solidFill>
                      <a:schemeClr val="bg2"/>
                    </a:solidFill>
                    <a:latin typeface="DWS Sans Light" panose="02010404010101010104" pitchFamily="50" charset="0"/>
                    <a:cs typeface="DWS Sans Light" panose="02010404010101010104" pitchFamily="50" charset="0"/>
                  </a:rPr>
                  <a:t>breve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p:txBody>
          </p:sp>
          <p:grpSp>
            <p:nvGrpSpPr>
              <p:cNvPr id="18" name="Gruppieren 364">
                <a:extLst>
                  <a:ext uri="{FF2B5EF4-FFF2-40B4-BE49-F238E27FC236}">
                    <a16:creationId xmlns:a16="http://schemas.microsoft.com/office/drawing/2014/main" id="{D66AACAB-953D-F81F-1BAD-9F1DF028C815}"/>
                  </a:ext>
                </a:extLst>
              </p:cNvPr>
              <p:cNvGrpSpPr/>
              <p:nvPr/>
            </p:nvGrpSpPr>
            <p:grpSpPr>
              <a:xfrm>
                <a:off x="1787544" y="1645811"/>
                <a:ext cx="84660" cy="367354"/>
                <a:chOff x="1662113" y="1735139"/>
                <a:chExt cx="192088" cy="833505"/>
              </a:xfrm>
            </p:grpSpPr>
            <p:grpSp>
              <p:nvGrpSpPr>
                <p:cNvPr id="24" name="Gruppieren 365">
                  <a:extLst>
                    <a:ext uri="{FF2B5EF4-FFF2-40B4-BE49-F238E27FC236}">
                      <a16:creationId xmlns:a16="http://schemas.microsoft.com/office/drawing/2014/main" id="{4E153528-F4A5-8E81-64D6-38D09B33E2B2}"/>
                    </a:ext>
                  </a:extLst>
                </p:cNvPr>
                <p:cNvGrpSpPr/>
                <p:nvPr/>
              </p:nvGrpSpPr>
              <p:grpSpPr>
                <a:xfrm>
                  <a:off x="1662113" y="1735139"/>
                  <a:ext cx="192088" cy="506413"/>
                  <a:chOff x="1662113" y="1735139"/>
                  <a:chExt cx="192088" cy="506413"/>
                </a:xfrm>
              </p:grpSpPr>
              <p:sp>
                <p:nvSpPr>
                  <p:cNvPr id="30" name="Freeform 10">
                    <a:extLst>
                      <a:ext uri="{FF2B5EF4-FFF2-40B4-BE49-F238E27FC236}">
                        <a16:creationId xmlns:a16="http://schemas.microsoft.com/office/drawing/2014/main" id="{22854F63-5B3C-CD6E-9C45-2520364086D6}"/>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solidFill>
                    <a:srgbClr val="B7C5C8"/>
                  </a:solidFill>
                  <a:ln>
                    <a:noFill/>
                  </a:ln>
                </p:spPr>
                <p:txBody>
                  <a:bodyPr vert="horz" wrap="square" lIns="91440" tIns="45720" rIns="91440" bIns="45720" numCol="1" anchor="t" anchorCtr="0" compatLnSpc="1">
                    <a:prstTxWarp prst="textNoShape">
                      <a:avLst/>
                    </a:prstTxWarp>
                  </a:bodyPr>
                  <a:lstStyle/>
                  <a:p>
                    <a:pPr algn="ctr"/>
                    <a:endParaRPr lang="de-DE" sz="700" dirty="0">
                      <a:solidFill>
                        <a:schemeClr val="bg2"/>
                      </a:solidFill>
                      <a:latin typeface="DWS Sans" panose="02010504010101010104" pitchFamily="50" charset="0"/>
                      <a:cs typeface="DWS Sans" panose="02010504010101010104" pitchFamily="50" charset="0"/>
                    </a:endParaRPr>
                  </a:p>
                </p:txBody>
              </p:sp>
              <p:sp>
                <p:nvSpPr>
                  <p:cNvPr id="31" name="Freeform 12">
                    <a:extLst>
                      <a:ext uri="{FF2B5EF4-FFF2-40B4-BE49-F238E27FC236}">
                        <a16:creationId xmlns:a16="http://schemas.microsoft.com/office/drawing/2014/main" id="{A2743CC9-E2D2-CC9F-8664-63CDCA3402D4}"/>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de-DE" sz="700" dirty="0">
                      <a:solidFill>
                        <a:schemeClr val="bg2"/>
                      </a:solidFill>
                      <a:latin typeface="DWS Sans" panose="02010504010101010104" pitchFamily="50" charset="0"/>
                      <a:cs typeface="DWS Sans" panose="02010504010101010104" pitchFamily="50" charset="0"/>
                    </a:endParaRPr>
                  </a:p>
                </p:txBody>
              </p:sp>
              <p:sp>
                <p:nvSpPr>
                  <p:cNvPr id="32" name="Oval 13">
                    <a:extLst>
                      <a:ext uri="{FF2B5EF4-FFF2-40B4-BE49-F238E27FC236}">
                        <a16:creationId xmlns:a16="http://schemas.microsoft.com/office/drawing/2014/main" id="{6B478C41-C9B4-0AEF-D648-93326DE63BD5}"/>
                      </a:ext>
                    </a:extLst>
                  </p:cNvPr>
                  <p:cNvSpPr>
                    <a:spLocks noChangeArrowheads="1"/>
                  </p:cNvSpPr>
                  <p:nvPr/>
                </p:nvSpPr>
                <p:spPr bwMode="auto">
                  <a:xfrm>
                    <a:off x="1730375" y="2120902"/>
                    <a:ext cx="60325" cy="603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pPr algn="ctr"/>
                    <a:endParaRPr lang="de-DE" sz="700" dirty="0">
                      <a:solidFill>
                        <a:schemeClr val="bg2"/>
                      </a:solidFill>
                      <a:latin typeface="DWS Sans" panose="02010504010101010104" pitchFamily="50" charset="0"/>
                      <a:cs typeface="DWS Sans" panose="02010504010101010104" pitchFamily="50" charset="0"/>
                    </a:endParaRPr>
                  </a:p>
                </p:txBody>
              </p:sp>
              <p:sp>
                <p:nvSpPr>
                  <p:cNvPr id="33" name="Freeform 11">
                    <a:extLst>
                      <a:ext uri="{FF2B5EF4-FFF2-40B4-BE49-F238E27FC236}">
                        <a16:creationId xmlns:a16="http://schemas.microsoft.com/office/drawing/2014/main" id="{54AA1FF4-F02C-1453-0B9B-C28A6AAFAA3A}"/>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gn="ctr"/>
                    <a:endParaRPr lang="de-DE" sz="700" dirty="0">
                      <a:solidFill>
                        <a:schemeClr val="bg2"/>
                      </a:solidFill>
                      <a:latin typeface="DWS Sans" panose="02010504010101010104" pitchFamily="50" charset="0"/>
                      <a:cs typeface="DWS Sans" panose="02010504010101010104" pitchFamily="50" charset="0"/>
                    </a:endParaRPr>
                  </a:p>
                </p:txBody>
              </p:sp>
            </p:grpSp>
            <p:grpSp>
              <p:nvGrpSpPr>
                <p:cNvPr id="25" name="Gruppieren 366">
                  <a:extLst>
                    <a:ext uri="{FF2B5EF4-FFF2-40B4-BE49-F238E27FC236}">
                      <a16:creationId xmlns:a16="http://schemas.microsoft.com/office/drawing/2014/main" id="{6CD6CFB5-E255-41DB-C526-97E81F22435C}"/>
                    </a:ext>
                  </a:extLst>
                </p:cNvPr>
                <p:cNvGrpSpPr/>
                <p:nvPr/>
              </p:nvGrpSpPr>
              <p:grpSpPr>
                <a:xfrm flipV="1">
                  <a:off x="1662113" y="2062231"/>
                  <a:ext cx="192088" cy="506413"/>
                  <a:chOff x="1662113" y="1735139"/>
                  <a:chExt cx="192088" cy="506413"/>
                </a:xfrm>
                <a:noFill/>
              </p:grpSpPr>
              <p:sp>
                <p:nvSpPr>
                  <p:cNvPr id="26" name="Freeform 10">
                    <a:extLst>
                      <a:ext uri="{FF2B5EF4-FFF2-40B4-BE49-F238E27FC236}">
                        <a16:creationId xmlns:a16="http://schemas.microsoft.com/office/drawing/2014/main" id="{E1B04987-54A6-B5A3-33D3-961B00511CCD}"/>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grpFill/>
                  <a:ln>
                    <a:noFill/>
                  </a:ln>
                </p:spPr>
                <p:txBody>
                  <a:bodyPr vert="horz" wrap="square" lIns="91440" tIns="45720" rIns="91440" bIns="45720" numCol="1" anchor="t" anchorCtr="0" compatLnSpc="1">
                    <a:prstTxWarp prst="textNoShape">
                      <a:avLst/>
                    </a:prstTxWarp>
                  </a:bodyPr>
                  <a:lstStyle/>
                  <a:p>
                    <a:pPr algn="ctr"/>
                    <a:endParaRPr lang="de-DE" sz="700" dirty="0">
                      <a:solidFill>
                        <a:schemeClr val="bg2"/>
                      </a:solidFill>
                      <a:latin typeface="DWS Sans" panose="02010504010101010104" pitchFamily="50" charset="0"/>
                      <a:cs typeface="DWS Sans" panose="02010504010101010104" pitchFamily="50" charset="0"/>
                    </a:endParaRPr>
                  </a:p>
                </p:txBody>
              </p:sp>
              <p:sp>
                <p:nvSpPr>
                  <p:cNvPr id="27" name="Freeform 11">
                    <a:extLst>
                      <a:ext uri="{FF2B5EF4-FFF2-40B4-BE49-F238E27FC236}">
                        <a16:creationId xmlns:a16="http://schemas.microsoft.com/office/drawing/2014/main" id="{23AC28BC-1BFB-9582-29EF-DB812FC06141}"/>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grpFill/>
                  <a:ln>
                    <a:noFill/>
                  </a:ln>
                </p:spPr>
                <p:txBody>
                  <a:bodyPr vert="horz" wrap="square" lIns="91440" tIns="45720" rIns="91440" bIns="45720" numCol="1" anchor="t" anchorCtr="0" compatLnSpc="1">
                    <a:prstTxWarp prst="textNoShape">
                      <a:avLst/>
                    </a:prstTxWarp>
                  </a:bodyPr>
                  <a:lstStyle/>
                  <a:p>
                    <a:pPr algn="ctr"/>
                    <a:endParaRPr lang="de-DE" sz="700" dirty="0">
                      <a:solidFill>
                        <a:schemeClr val="bg2"/>
                      </a:solidFill>
                      <a:latin typeface="DWS Sans" panose="02010504010101010104" pitchFamily="50" charset="0"/>
                      <a:cs typeface="DWS Sans" panose="02010504010101010104" pitchFamily="50" charset="0"/>
                    </a:endParaRPr>
                  </a:p>
                </p:txBody>
              </p:sp>
              <p:sp>
                <p:nvSpPr>
                  <p:cNvPr id="28" name="Freeform 12">
                    <a:extLst>
                      <a:ext uri="{FF2B5EF4-FFF2-40B4-BE49-F238E27FC236}">
                        <a16:creationId xmlns:a16="http://schemas.microsoft.com/office/drawing/2014/main" id="{2058A58F-36EC-0AF7-57F4-AC0100E63DA2}"/>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a:endParaRPr lang="de-DE" sz="700" dirty="0">
                      <a:solidFill>
                        <a:schemeClr val="bg2"/>
                      </a:solidFill>
                      <a:latin typeface="DWS Sans" panose="02010504010101010104" pitchFamily="50" charset="0"/>
                      <a:cs typeface="DWS Sans" panose="02010504010101010104" pitchFamily="50" charset="0"/>
                    </a:endParaRPr>
                  </a:p>
                </p:txBody>
              </p:sp>
              <p:sp>
                <p:nvSpPr>
                  <p:cNvPr id="29" name="Oval 13">
                    <a:extLst>
                      <a:ext uri="{FF2B5EF4-FFF2-40B4-BE49-F238E27FC236}">
                        <a16:creationId xmlns:a16="http://schemas.microsoft.com/office/drawing/2014/main" id="{5FBA327E-E4C6-546D-1EFC-16A50E380BDD}"/>
                      </a:ext>
                    </a:extLst>
                  </p:cNvPr>
                  <p:cNvSpPr>
                    <a:spLocks noChangeArrowheads="1"/>
                  </p:cNvSpPr>
                  <p:nvPr/>
                </p:nvSpPr>
                <p:spPr bwMode="auto">
                  <a:xfrm>
                    <a:off x="1730375" y="2120902"/>
                    <a:ext cx="60325" cy="60325"/>
                  </a:xfrm>
                  <a:prstGeom prst="ellipse">
                    <a:avLst/>
                  </a:prstGeom>
                  <a:grpFill/>
                  <a:ln>
                    <a:noFill/>
                  </a:ln>
                </p:spPr>
                <p:txBody>
                  <a:bodyPr vert="horz" wrap="square" lIns="91440" tIns="45720" rIns="91440" bIns="45720" numCol="1" anchor="t" anchorCtr="0" compatLnSpc="1">
                    <a:prstTxWarp prst="textNoShape">
                      <a:avLst/>
                    </a:prstTxWarp>
                  </a:bodyPr>
                  <a:lstStyle/>
                  <a:p>
                    <a:pPr algn="ctr"/>
                    <a:endParaRPr lang="de-DE" sz="700" dirty="0">
                      <a:solidFill>
                        <a:schemeClr val="bg2"/>
                      </a:solidFill>
                      <a:latin typeface="DWS Sans" panose="02010504010101010104" pitchFamily="50" charset="0"/>
                      <a:cs typeface="DWS Sans" panose="02010504010101010104" pitchFamily="50" charset="0"/>
                    </a:endParaRPr>
                  </a:p>
                </p:txBody>
              </p:sp>
            </p:grpSp>
          </p:grpSp>
          <p:grpSp>
            <p:nvGrpSpPr>
              <p:cNvPr id="19" name="Gruppieren 375">
                <a:extLst>
                  <a:ext uri="{FF2B5EF4-FFF2-40B4-BE49-F238E27FC236}">
                    <a16:creationId xmlns:a16="http://schemas.microsoft.com/office/drawing/2014/main" id="{1E8E7680-0DCE-42DF-276C-CB2E0A85F007}"/>
                  </a:ext>
                </a:extLst>
              </p:cNvPr>
              <p:cNvGrpSpPr/>
              <p:nvPr/>
            </p:nvGrpSpPr>
            <p:grpSpPr>
              <a:xfrm>
                <a:off x="1430336" y="1425917"/>
                <a:ext cx="817200" cy="412452"/>
                <a:chOff x="1430336" y="1425917"/>
                <a:chExt cx="817200" cy="412452"/>
              </a:xfrm>
            </p:grpSpPr>
            <p:sp>
              <p:nvSpPr>
                <p:cNvPr id="20" name="Freeform 11">
                  <a:extLst>
                    <a:ext uri="{FF2B5EF4-FFF2-40B4-BE49-F238E27FC236}">
                      <a16:creationId xmlns:a16="http://schemas.microsoft.com/office/drawing/2014/main" id="{A06A48A1-B8D7-A656-B304-24B7129D6BE4}"/>
                    </a:ext>
                  </a:extLst>
                </p:cNvPr>
                <p:cNvSpPr>
                  <a:spLocks/>
                </p:cNvSpPr>
                <p:nvPr/>
              </p:nvSpPr>
              <p:spPr bwMode="auto">
                <a:xfrm>
                  <a:off x="1430336" y="1487276"/>
                  <a:ext cx="246261" cy="351093"/>
                </a:xfrm>
                <a:custGeom>
                  <a:avLst/>
                  <a:gdLst>
                    <a:gd name="T0" fmla="*/ 160 w 378"/>
                    <a:gd name="T1" fmla="*/ 534 h 534"/>
                    <a:gd name="T2" fmla="*/ 378 w 378"/>
                    <a:gd name="T3" fmla="*/ 139 h 534"/>
                    <a:gd name="T4" fmla="*/ 298 w 378"/>
                    <a:gd name="T5" fmla="*/ 0 h 534"/>
                    <a:gd name="T6" fmla="*/ 0 w 378"/>
                    <a:gd name="T7" fmla="*/ 534 h 534"/>
                    <a:gd name="T8" fmla="*/ 160 w 378"/>
                    <a:gd name="T9" fmla="*/ 534 h 534"/>
                  </a:gdLst>
                  <a:ahLst/>
                  <a:cxnLst>
                    <a:cxn ang="0">
                      <a:pos x="T0" y="T1"/>
                    </a:cxn>
                    <a:cxn ang="0">
                      <a:pos x="T2" y="T3"/>
                    </a:cxn>
                    <a:cxn ang="0">
                      <a:pos x="T4" y="T5"/>
                    </a:cxn>
                    <a:cxn ang="0">
                      <a:pos x="T6" y="T7"/>
                    </a:cxn>
                    <a:cxn ang="0">
                      <a:pos x="T8" y="T9"/>
                    </a:cxn>
                  </a:cxnLst>
                  <a:rect l="0" t="0" r="r" b="b"/>
                  <a:pathLst>
                    <a:path w="378" h="534">
                      <a:moveTo>
                        <a:pt x="160" y="534"/>
                      </a:moveTo>
                      <a:cubicBezTo>
                        <a:pt x="160" y="367"/>
                        <a:pt x="247" y="221"/>
                        <a:pt x="378" y="139"/>
                      </a:cubicBezTo>
                      <a:cubicBezTo>
                        <a:pt x="298" y="0"/>
                        <a:pt x="298" y="0"/>
                        <a:pt x="298" y="0"/>
                      </a:cubicBezTo>
                      <a:cubicBezTo>
                        <a:pt x="119" y="111"/>
                        <a:pt x="0" y="308"/>
                        <a:pt x="0" y="534"/>
                      </a:cubicBezTo>
                      <a:lnTo>
                        <a:pt x="160" y="534"/>
                      </a:ln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de-DE" sz="700" dirty="0">
                    <a:solidFill>
                      <a:schemeClr val="bg2"/>
                    </a:solidFill>
                    <a:latin typeface="DWS Sans" panose="02010504010101010104" pitchFamily="50" charset="0"/>
                    <a:cs typeface="DWS Sans" panose="02010504010101010104" pitchFamily="50" charset="0"/>
                  </a:endParaRPr>
                </a:p>
              </p:txBody>
            </p:sp>
            <p:sp>
              <p:nvSpPr>
                <p:cNvPr id="21" name="Freeform 12">
                  <a:extLst>
                    <a:ext uri="{FF2B5EF4-FFF2-40B4-BE49-F238E27FC236}">
                      <a16:creationId xmlns:a16="http://schemas.microsoft.com/office/drawing/2014/main" id="{DADBE22A-39F7-7424-AF48-F78344013814}"/>
                    </a:ext>
                  </a:extLst>
                </p:cNvPr>
                <p:cNvSpPr>
                  <a:spLocks/>
                </p:cNvSpPr>
                <p:nvPr/>
              </p:nvSpPr>
              <p:spPr bwMode="auto">
                <a:xfrm>
                  <a:off x="1644679" y="1425917"/>
                  <a:ext cx="388514" cy="140878"/>
                </a:xfrm>
                <a:custGeom>
                  <a:avLst/>
                  <a:gdLst>
                    <a:gd name="T0" fmla="*/ 80 w 596"/>
                    <a:gd name="T1" fmla="*/ 214 h 214"/>
                    <a:gd name="T2" fmla="*/ 298 w 596"/>
                    <a:gd name="T3" fmla="*/ 160 h 214"/>
                    <a:gd name="T4" fmla="*/ 516 w 596"/>
                    <a:gd name="T5" fmla="*/ 214 h 214"/>
                    <a:gd name="T6" fmla="*/ 596 w 596"/>
                    <a:gd name="T7" fmla="*/ 75 h 214"/>
                    <a:gd name="T8" fmla="*/ 298 w 596"/>
                    <a:gd name="T9" fmla="*/ 0 h 214"/>
                    <a:gd name="T10" fmla="*/ 0 w 596"/>
                    <a:gd name="T11" fmla="*/ 75 h 214"/>
                    <a:gd name="T12" fmla="*/ 80 w 596"/>
                    <a:gd name="T13" fmla="*/ 214 h 214"/>
                  </a:gdLst>
                  <a:ahLst/>
                  <a:cxnLst>
                    <a:cxn ang="0">
                      <a:pos x="T0" y="T1"/>
                    </a:cxn>
                    <a:cxn ang="0">
                      <a:pos x="T2" y="T3"/>
                    </a:cxn>
                    <a:cxn ang="0">
                      <a:pos x="T4" y="T5"/>
                    </a:cxn>
                    <a:cxn ang="0">
                      <a:pos x="T6" y="T7"/>
                    </a:cxn>
                    <a:cxn ang="0">
                      <a:pos x="T8" y="T9"/>
                    </a:cxn>
                    <a:cxn ang="0">
                      <a:pos x="T10" y="T11"/>
                    </a:cxn>
                    <a:cxn ang="0">
                      <a:pos x="T12" y="T13"/>
                    </a:cxn>
                  </a:cxnLst>
                  <a:rect l="0" t="0" r="r" b="b"/>
                  <a:pathLst>
                    <a:path w="596" h="214">
                      <a:moveTo>
                        <a:pt x="80" y="214"/>
                      </a:moveTo>
                      <a:cubicBezTo>
                        <a:pt x="145" y="179"/>
                        <a:pt x="219" y="160"/>
                        <a:pt x="298" y="160"/>
                      </a:cubicBezTo>
                      <a:cubicBezTo>
                        <a:pt x="377" y="160"/>
                        <a:pt x="451" y="179"/>
                        <a:pt x="516" y="214"/>
                      </a:cubicBezTo>
                      <a:cubicBezTo>
                        <a:pt x="596" y="75"/>
                        <a:pt x="596" y="75"/>
                        <a:pt x="596" y="75"/>
                      </a:cubicBezTo>
                      <a:cubicBezTo>
                        <a:pt x="507" y="27"/>
                        <a:pt x="406" y="0"/>
                        <a:pt x="298" y="0"/>
                      </a:cubicBezTo>
                      <a:cubicBezTo>
                        <a:pt x="190" y="0"/>
                        <a:pt x="89" y="27"/>
                        <a:pt x="0" y="75"/>
                      </a:cubicBezTo>
                      <a:lnTo>
                        <a:pt x="80" y="214"/>
                      </a:lnTo>
                      <a:close/>
                    </a:path>
                  </a:pathLst>
                </a:custGeom>
                <a:solidFill>
                  <a:srgbClr val="E8C64D"/>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de-DE" sz="700" dirty="0">
                    <a:solidFill>
                      <a:schemeClr val="bg2"/>
                    </a:solidFill>
                    <a:latin typeface="DWS Sans" panose="02010504010101010104" pitchFamily="50" charset="0"/>
                    <a:cs typeface="DWS Sans" panose="02010504010101010104" pitchFamily="50" charset="0"/>
                  </a:endParaRPr>
                </a:p>
              </p:txBody>
            </p:sp>
            <p:sp>
              <p:nvSpPr>
                <p:cNvPr id="22" name="Freeform 13">
                  <a:extLst>
                    <a:ext uri="{FF2B5EF4-FFF2-40B4-BE49-F238E27FC236}">
                      <a16:creationId xmlns:a16="http://schemas.microsoft.com/office/drawing/2014/main" id="{F2529651-668C-4205-B74E-A670271F9B51}"/>
                    </a:ext>
                  </a:extLst>
                </p:cNvPr>
                <p:cNvSpPr>
                  <a:spLocks/>
                </p:cNvSpPr>
                <p:nvPr/>
              </p:nvSpPr>
              <p:spPr bwMode="auto">
                <a:xfrm>
                  <a:off x="2001275" y="1487276"/>
                  <a:ext cx="246261" cy="351093"/>
                </a:xfrm>
                <a:custGeom>
                  <a:avLst/>
                  <a:gdLst>
                    <a:gd name="T0" fmla="*/ 80 w 378"/>
                    <a:gd name="T1" fmla="*/ 0 h 534"/>
                    <a:gd name="T2" fmla="*/ 0 w 378"/>
                    <a:gd name="T3" fmla="*/ 139 h 534"/>
                    <a:gd name="T4" fmla="*/ 218 w 378"/>
                    <a:gd name="T5" fmla="*/ 534 h 534"/>
                    <a:gd name="T6" fmla="*/ 378 w 378"/>
                    <a:gd name="T7" fmla="*/ 534 h 534"/>
                    <a:gd name="T8" fmla="*/ 80 w 378"/>
                    <a:gd name="T9" fmla="*/ 0 h 534"/>
                  </a:gdLst>
                  <a:ahLst/>
                  <a:cxnLst>
                    <a:cxn ang="0">
                      <a:pos x="T0" y="T1"/>
                    </a:cxn>
                    <a:cxn ang="0">
                      <a:pos x="T2" y="T3"/>
                    </a:cxn>
                    <a:cxn ang="0">
                      <a:pos x="T4" y="T5"/>
                    </a:cxn>
                    <a:cxn ang="0">
                      <a:pos x="T6" y="T7"/>
                    </a:cxn>
                    <a:cxn ang="0">
                      <a:pos x="T8" y="T9"/>
                    </a:cxn>
                  </a:cxnLst>
                  <a:rect l="0" t="0" r="r" b="b"/>
                  <a:pathLst>
                    <a:path w="378" h="534">
                      <a:moveTo>
                        <a:pt x="80" y="0"/>
                      </a:moveTo>
                      <a:cubicBezTo>
                        <a:pt x="0" y="139"/>
                        <a:pt x="0" y="139"/>
                        <a:pt x="0" y="139"/>
                      </a:cubicBezTo>
                      <a:cubicBezTo>
                        <a:pt x="131" y="221"/>
                        <a:pt x="218" y="367"/>
                        <a:pt x="218" y="534"/>
                      </a:cubicBezTo>
                      <a:cubicBezTo>
                        <a:pt x="378" y="534"/>
                        <a:pt x="378" y="534"/>
                        <a:pt x="378" y="534"/>
                      </a:cubicBezTo>
                      <a:cubicBezTo>
                        <a:pt x="378" y="308"/>
                        <a:pt x="259" y="111"/>
                        <a:pt x="80" y="0"/>
                      </a:cubicBez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de-DE" sz="700" dirty="0">
                    <a:solidFill>
                      <a:schemeClr val="bg2"/>
                    </a:solidFill>
                    <a:latin typeface="DWS Sans" panose="02010504010101010104" pitchFamily="50" charset="0"/>
                    <a:cs typeface="DWS Sans" panose="02010504010101010104" pitchFamily="50" charset="0"/>
                  </a:endParaRPr>
                </a:p>
              </p:txBody>
            </p:sp>
            <p:sp>
              <p:nvSpPr>
                <p:cNvPr id="23" name="Freihandform: Form 379">
                  <a:extLst>
                    <a:ext uri="{FF2B5EF4-FFF2-40B4-BE49-F238E27FC236}">
                      <a16:creationId xmlns:a16="http://schemas.microsoft.com/office/drawing/2014/main" id="{21F107CD-A6A9-2513-1216-9BF6A73EF7E4}"/>
                    </a:ext>
                  </a:extLst>
                </p:cNvPr>
                <p:cNvSpPr>
                  <a:spLocks/>
                </p:cNvSpPr>
                <p:nvPr/>
              </p:nvSpPr>
              <p:spPr bwMode="auto">
                <a:xfrm>
                  <a:off x="1555530" y="1552212"/>
                  <a:ext cx="566812" cy="286157"/>
                </a:xfrm>
                <a:custGeom>
                  <a:avLst/>
                  <a:gdLst>
                    <a:gd name="connsiteX0" fmla="*/ 283406 w 566812"/>
                    <a:gd name="connsiteY0" fmla="*/ 0 h 286157"/>
                    <a:gd name="connsiteX1" fmla="*/ 566812 w 566812"/>
                    <a:gd name="connsiteY1" fmla="*/ 286157 h 286157"/>
                    <a:gd name="connsiteX2" fmla="*/ 506571 w 566812"/>
                    <a:gd name="connsiteY2" fmla="*/ 286157 h 286157"/>
                    <a:gd name="connsiteX3" fmla="*/ 283406 w 566812"/>
                    <a:gd name="connsiteY3" fmla="*/ 60826 h 286157"/>
                    <a:gd name="connsiteX4" fmla="*/ 60241 w 566812"/>
                    <a:gd name="connsiteY4" fmla="*/ 286157 h 286157"/>
                    <a:gd name="connsiteX5" fmla="*/ 0 w 566812"/>
                    <a:gd name="connsiteY5" fmla="*/ 286157 h 286157"/>
                    <a:gd name="connsiteX6" fmla="*/ 283406 w 566812"/>
                    <a:gd name="connsiteY6" fmla="*/ 0 h 28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812" h="286157">
                      <a:moveTo>
                        <a:pt x="283406" y="0"/>
                      </a:moveTo>
                      <a:cubicBezTo>
                        <a:pt x="439768" y="0"/>
                        <a:pt x="566812" y="128277"/>
                        <a:pt x="566812" y="286157"/>
                      </a:cubicBezTo>
                      <a:lnTo>
                        <a:pt x="506571" y="286157"/>
                      </a:lnTo>
                      <a:cubicBezTo>
                        <a:pt x="506571" y="161837"/>
                        <a:pt x="406532" y="60826"/>
                        <a:pt x="283406" y="60826"/>
                      </a:cubicBezTo>
                      <a:cubicBezTo>
                        <a:pt x="160281" y="60826"/>
                        <a:pt x="60241" y="161837"/>
                        <a:pt x="60241" y="286157"/>
                      </a:cubicBezTo>
                      <a:lnTo>
                        <a:pt x="0" y="286157"/>
                      </a:lnTo>
                      <a:cubicBezTo>
                        <a:pt x="0" y="128277"/>
                        <a:pt x="127044" y="0"/>
                        <a:pt x="283406" y="0"/>
                      </a:cubicBez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algn="ctr"/>
                  <a:endParaRPr lang="de-DE" sz="700" dirty="0">
                    <a:solidFill>
                      <a:schemeClr val="bg2"/>
                    </a:solidFill>
                    <a:latin typeface="DWS Sans" panose="02010504010101010104" pitchFamily="50" charset="0"/>
                    <a:cs typeface="DWS Sans" panose="02010504010101010104" pitchFamily="50" charset="0"/>
                  </a:endParaRPr>
                </a:p>
              </p:txBody>
            </p:sp>
          </p:grpSp>
        </p:grpSp>
        <p:grpSp>
          <p:nvGrpSpPr>
            <p:cNvPr id="12" name="Group 3">
              <a:extLst>
                <a:ext uri="{FF2B5EF4-FFF2-40B4-BE49-F238E27FC236}">
                  <a16:creationId xmlns:a16="http://schemas.microsoft.com/office/drawing/2014/main" id="{767A292F-CC02-B98D-9C55-5E1020C80C1D}"/>
                </a:ext>
              </a:extLst>
            </p:cNvPr>
            <p:cNvGrpSpPr/>
            <p:nvPr/>
          </p:nvGrpSpPr>
          <p:grpSpPr>
            <a:xfrm>
              <a:off x="532837" y="3465804"/>
              <a:ext cx="723900" cy="435108"/>
              <a:chOff x="516115" y="3642063"/>
              <a:chExt cx="876279" cy="541277"/>
            </a:xfrm>
          </p:grpSpPr>
          <p:sp>
            <p:nvSpPr>
              <p:cNvPr id="13" name="Rechteck 273">
                <a:extLst>
                  <a:ext uri="{FF2B5EF4-FFF2-40B4-BE49-F238E27FC236}">
                    <a16:creationId xmlns:a16="http://schemas.microsoft.com/office/drawing/2014/main" id="{FB1BC12D-AA6D-3B35-98AE-5E96BFF4F5BB}"/>
                  </a:ext>
                </a:extLst>
              </p:cNvPr>
              <p:cNvSpPr/>
              <p:nvPr/>
            </p:nvSpPr>
            <p:spPr>
              <a:xfrm>
                <a:off x="516115" y="3709152"/>
                <a:ext cx="876279" cy="474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bg1"/>
                  </a:buClr>
                </a:pPr>
                <a:r>
                  <a:rPr lang="en-GB" sz="700" dirty="0" err="1">
                    <a:solidFill>
                      <a:schemeClr val="bg2"/>
                    </a:solidFill>
                    <a:latin typeface="DWS Sans Light" panose="02010404010101010104" pitchFamily="50" charset="0"/>
                    <a:cs typeface="DWS Sans Light" panose="02010404010101010104" pitchFamily="50" charset="0"/>
                  </a:rPr>
                  <a:t>lungo</a:t>
                </a:r>
                <a:r>
                  <a:rPr lang="en-GB" sz="700" dirty="0">
                    <a:solidFill>
                      <a:schemeClr val="bg2"/>
                    </a:solidFill>
                    <a:latin typeface="DWS Sans Light" panose="02010404010101010104" pitchFamily="50" charset="0"/>
                    <a:cs typeface="DWS Sans Light" panose="02010404010101010104" pitchFamily="50" charset="0"/>
                  </a:rPr>
                  <a:t>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a:p>
                <a:pPr algn="ctr">
                  <a:spcBef>
                    <a:spcPts val="600"/>
                  </a:spcBef>
                  <a:buClr>
                    <a:schemeClr val="bg1"/>
                  </a:buClr>
                </a:pPr>
                <a:endParaRPr lang="en-GB" sz="700" dirty="0">
                  <a:solidFill>
                    <a:schemeClr val="bg2"/>
                  </a:solidFill>
                  <a:latin typeface="DWS Sans Light" panose="02010404010101010104" pitchFamily="50" charset="0"/>
                  <a:cs typeface="DWS Sans Light" panose="02010404010101010104" pitchFamily="50" charset="0"/>
                </a:endParaRPr>
              </a:p>
            </p:txBody>
          </p:sp>
          <p:sp>
            <p:nvSpPr>
              <p:cNvPr id="14" name="Rectangle 2">
                <a:extLst>
                  <a:ext uri="{FF2B5EF4-FFF2-40B4-BE49-F238E27FC236}">
                    <a16:creationId xmlns:a16="http://schemas.microsoft.com/office/drawing/2014/main" id="{726E8A85-53E6-BF2E-F746-FC5748548C39}"/>
                  </a:ext>
                </a:extLst>
              </p:cNvPr>
              <p:cNvSpPr/>
              <p:nvPr/>
            </p:nvSpPr>
            <p:spPr bwMode="auto">
              <a:xfrm>
                <a:off x="612278" y="3642063"/>
                <a:ext cx="205200" cy="84034"/>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sp>
            <p:nvSpPr>
              <p:cNvPr id="15" name="Rectangle 215">
                <a:extLst>
                  <a:ext uri="{FF2B5EF4-FFF2-40B4-BE49-F238E27FC236}">
                    <a16:creationId xmlns:a16="http://schemas.microsoft.com/office/drawing/2014/main" id="{ED21096A-01EE-C7B9-717B-8D4C9650AC69}"/>
                  </a:ext>
                </a:extLst>
              </p:cNvPr>
              <p:cNvSpPr/>
              <p:nvPr/>
            </p:nvSpPr>
            <p:spPr bwMode="auto">
              <a:xfrm>
                <a:off x="1069462" y="3642063"/>
                <a:ext cx="205200" cy="84034"/>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sp>
            <p:nvSpPr>
              <p:cNvPr id="16" name="Rectangle 216">
                <a:extLst>
                  <a:ext uri="{FF2B5EF4-FFF2-40B4-BE49-F238E27FC236}">
                    <a16:creationId xmlns:a16="http://schemas.microsoft.com/office/drawing/2014/main" id="{623BFE11-00CB-B011-D7C0-A981F4AB4F3D}"/>
                  </a:ext>
                </a:extLst>
              </p:cNvPr>
              <p:cNvSpPr/>
              <p:nvPr/>
            </p:nvSpPr>
            <p:spPr bwMode="auto">
              <a:xfrm>
                <a:off x="840870" y="3642063"/>
                <a:ext cx="205200" cy="84034"/>
              </a:xfrm>
              <a:prstGeom prst="rect">
                <a:avLst/>
              </a:prstGeom>
              <a:solidFill>
                <a:srgbClr val="E8C64D"/>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grpSp>
      </p:grpSp>
      <p:grpSp>
        <p:nvGrpSpPr>
          <p:cNvPr id="34" name="Gruppieren 33">
            <a:extLst>
              <a:ext uri="{FF2B5EF4-FFF2-40B4-BE49-F238E27FC236}">
                <a16:creationId xmlns:a16="http://schemas.microsoft.com/office/drawing/2014/main" id="{5093156B-80E1-A6C8-E264-945E09314085}"/>
              </a:ext>
            </a:extLst>
          </p:cNvPr>
          <p:cNvGrpSpPr/>
          <p:nvPr/>
        </p:nvGrpSpPr>
        <p:grpSpPr>
          <a:xfrm>
            <a:off x="4993110" y="4967067"/>
            <a:ext cx="733508" cy="745372"/>
            <a:chOff x="543353" y="8939344"/>
            <a:chExt cx="733508" cy="745372"/>
          </a:xfrm>
        </p:grpSpPr>
        <p:grpSp>
          <p:nvGrpSpPr>
            <p:cNvPr id="35" name="Group 516">
              <a:extLst>
                <a:ext uri="{FF2B5EF4-FFF2-40B4-BE49-F238E27FC236}">
                  <a16:creationId xmlns:a16="http://schemas.microsoft.com/office/drawing/2014/main" id="{615E6C55-C4D7-2A96-F3C2-3E7B9CFF5DC6}"/>
                </a:ext>
              </a:extLst>
            </p:cNvPr>
            <p:cNvGrpSpPr/>
            <p:nvPr/>
          </p:nvGrpSpPr>
          <p:grpSpPr>
            <a:xfrm>
              <a:off x="552961" y="8939344"/>
              <a:ext cx="723900" cy="471808"/>
              <a:chOff x="342954" y="3608777"/>
              <a:chExt cx="1081088" cy="709342"/>
            </a:xfrm>
          </p:grpSpPr>
          <p:sp>
            <p:nvSpPr>
              <p:cNvPr id="41" name="Rechteck 190">
                <a:extLst>
                  <a:ext uri="{FF2B5EF4-FFF2-40B4-BE49-F238E27FC236}">
                    <a16:creationId xmlns:a16="http://schemas.microsoft.com/office/drawing/2014/main" id="{17485B83-6D88-D2E7-F790-78D3E9839A2B}"/>
                  </a:ext>
                </a:extLst>
              </p:cNvPr>
              <p:cNvSpPr/>
              <p:nvPr/>
            </p:nvSpPr>
            <p:spPr>
              <a:xfrm>
                <a:off x="342954" y="4104538"/>
                <a:ext cx="1081088" cy="2135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bg1"/>
                  </a:buClr>
                </a:pPr>
                <a:r>
                  <a:rPr lang="en-GB" sz="700" dirty="0">
                    <a:solidFill>
                      <a:schemeClr val="bg2"/>
                    </a:solidFill>
                    <a:latin typeface="DWS Sans Light" panose="02010404010101010104" pitchFamily="50" charset="0"/>
                    <a:cs typeface="DWS Sans Light" panose="02010404010101010104" pitchFamily="50" charset="0"/>
                  </a:rPr>
                  <a:t>breve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p:txBody>
          </p:sp>
          <p:grpSp>
            <p:nvGrpSpPr>
              <p:cNvPr id="42" name="Gruppieren 192">
                <a:extLst>
                  <a:ext uri="{FF2B5EF4-FFF2-40B4-BE49-F238E27FC236}">
                    <a16:creationId xmlns:a16="http://schemas.microsoft.com/office/drawing/2014/main" id="{D0E407B3-D52A-40AA-98A6-5709CF00BBF4}"/>
                  </a:ext>
                </a:extLst>
              </p:cNvPr>
              <p:cNvGrpSpPr/>
              <p:nvPr/>
            </p:nvGrpSpPr>
            <p:grpSpPr>
              <a:xfrm rot="18326547">
                <a:off x="788748" y="3828671"/>
                <a:ext cx="84660" cy="367354"/>
                <a:chOff x="1662113" y="1735139"/>
                <a:chExt cx="192088" cy="833505"/>
              </a:xfrm>
            </p:grpSpPr>
            <p:grpSp>
              <p:nvGrpSpPr>
                <p:cNvPr id="48" name="Gruppieren 214">
                  <a:extLst>
                    <a:ext uri="{FF2B5EF4-FFF2-40B4-BE49-F238E27FC236}">
                      <a16:creationId xmlns:a16="http://schemas.microsoft.com/office/drawing/2014/main" id="{9BBF01FD-70A9-8DD5-F805-F56EF6571612}"/>
                    </a:ext>
                  </a:extLst>
                </p:cNvPr>
                <p:cNvGrpSpPr/>
                <p:nvPr/>
              </p:nvGrpSpPr>
              <p:grpSpPr>
                <a:xfrm>
                  <a:off x="1662113" y="1735139"/>
                  <a:ext cx="192088" cy="506413"/>
                  <a:chOff x="1662113" y="1735139"/>
                  <a:chExt cx="192088" cy="506413"/>
                </a:xfrm>
              </p:grpSpPr>
              <p:sp>
                <p:nvSpPr>
                  <p:cNvPr id="54" name="Freeform 10">
                    <a:extLst>
                      <a:ext uri="{FF2B5EF4-FFF2-40B4-BE49-F238E27FC236}">
                        <a16:creationId xmlns:a16="http://schemas.microsoft.com/office/drawing/2014/main" id="{258D1EB0-92A2-A80D-A59E-7575A6E6FF61}"/>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solidFill>
                    <a:srgbClr val="B7C5C8"/>
                  </a:solidFill>
                  <a:ln>
                    <a:noFill/>
                  </a:ln>
                </p:spPr>
                <p:txBody>
                  <a:bodyPr vert="horz" wrap="square" lIns="91440" tIns="45720" rIns="91440" bIns="45720" numCol="1" anchor="t" anchorCtr="0" compatLnSpc="1">
                    <a:prstTxWarp prst="textNoShape">
                      <a:avLst/>
                    </a:prstTxWarp>
                  </a:bodyPr>
                  <a:lstStyle/>
                  <a:p>
                    <a:endParaRPr lang="de-DE" sz="700" dirty="0">
                      <a:solidFill>
                        <a:schemeClr val="bg2"/>
                      </a:solidFill>
                      <a:latin typeface="DWS Sans" panose="02010504010101010104" pitchFamily="50" charset="0"/>
                      <a:cs typeface="DWS Sans" panose="02010504010101010104" pitchFamily="50" charset="0"/>
                    </a:endParaRPr>
                  </a:p>
                </p:txBody>
              </p:sp>
              <p:sp>
                <p:nvSpPr>
                  <p:cNvPr id="55" name="Freeform 12">
                    <a:extLst>
                      <a:ext uri="{FF2B5EF4-FFF2-40B4-BE49-F238E27FC236}">
                        <a16:creationId xmlns:a16="http://schemas.microsoft.com/office/drawing/2014/main" id="{53352A21-5886-4032-744A-7683229EE1B8}"/>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700" dirty="0">
                      <a:solidFill>
                        <a:schemeClr val="bg2"/>
                      </a:solidFill>
                      <a:latin typeface="DWS Sans" panose="02010504010101010104" pitchFamily="50" charset="0"/>
                      <a:cs typeface="DWS Sans" panose="02010504010101010104" pitchFamily="50" charset="0"/>
                    </a:endParaRPr>
                  </a:p>
                </p:txBody>
              </p:sp>
              <p:sp>
                <p:nvSpPr>
                  <p:cNvPr id="56" name="Oval 13">
                    <a:extLst>
                      <a:ext uri="{FF2B5EF4-FFF2-40B4-BE49-F238E27FC236}">
                        <a16:creationId xmlns:a16="http://schemas.microsoft.com/office/drawing/2014/main" id="{4A8F6846-A5C8-66F4-6AE3-537D4ADB3AB6}"/>
                      </a:ext>
                    </a:extLst>
                  </p:cNvPr>
                  <p:cNvSpPr>
                    <a:spLocks noChangeArrowheads="1"/>
                  </p:cNvSpPr>
                  <p:nvPr/>
                </p:nvSpPr>
                <p:spPr bwMode="auto">
                  <a:xfrm>
                    <a:off x="1730375" y="2120902"/>
                    <a:ext cx="60325" cy="603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de-DE" sz="700" dirty="0">
                      <a:solidFill>
                        <a:schemeClr val="bg2"/>
                      </a:solidFill>
                      <a:latin typeface="DWS Sans" panose="02010504010101010104" pitchFamily="50" charset="0"/>
                      <a:cs typeface="DWS Sans" panose="02010504010101010104" pitchFamily="50" charset="0"/>
                    </a:endParaRPr>
                  </a:p>
                </p:txBody>
              </p:sp>
              <p:sp>
                <p:nvSpPr>
                  <p:cNvPr id="57" name="Freeform 11">
                    <a:extLst>
                      <a:ext uri="{FF2B5EF4-FFF2-40B4-BE49-F238E27FC236}">
                        <a16:creationId xmlns:a16="http://schemas.microsoft.com/office/drawing/2014/main" id="{55FA96BF-5D5D-A3A6-BE48-FEA5A222F779}"/>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sz="700" dirty="0">
                      <a:solidFill>
                        <a:schemeClr val="bg2"/>
                      </a:solidFill>
                      <a:latin typeface="DWS Sans" panose="02010504010101010104" pitchFamily="50" charset="0"/>
                      <a:cs typeface="DWS Sans" panose="02010504010101010104" pitchFamily="50" charset="0"/>
                    </a:endParaRPr>
                  </a:p>
                </p:txBody>
              </p:sp>
            </p:grpSp>
            <p:grpSp>
              <p:nvGrpSpPr>
                <p:cNvPr id="49" name="Gruppieren 215">
                  <a:extLst>
                    <a:ext uri="{FF2B5EF4-FFF2-40B4-BE49-F238E27FC236}">
                      <a16:creationId xmlns:a16="http://schemas.microsoft.com/office/drawing/2014/main" id="{171D6D91-1360-82CE-6FF8-CFE6F8BEC6D5}"/>
                    </a:ext>
                  </a:extLst>
                </p:cNvPr>
                <p:cNvGrpSpPr/>
                <p:nvPr/>
              </p:nvGrpSpPr>
              <p:grpSpPr>
                <a:xfrm flipV="1">
                  <a:off x="1662113" y="2062231"/>
                  <a:ext cx="192088" cy="506413"/>
                  <a:chOff x="1662113" y="1735139"/>
                  <a:chExt cx="192088" cy="506413"/>
                </a:xfrm>
                <a:noFill/>
              </p:grpSpPr>
              <p:sp>
                <p:nvSpPr>
                  <p:cNvPr id="50" name="Freeform 10">
                    <a:extLst>
                      <a:ext uri="{FF2B5EF4-FFF2-40B4-BE49-F238E27FC236}">
                        <a16:creationId xmlns:a16="http://schemas.microsoft.com/office/drawing/2014/main" id="{787D7876-B1C3-1399-2595-373DDE1CEDB9}"/>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sz="700" dirty="0">
                      <a:solidFill>
                        <a:schemeClr val="bg2"/>
                      </a:solidFill>
                      <a:latin typeface="DWS Sans" panose="02010504010101010104" pitchFamily="50" charset="0"/>
                      <a:cs typeface="DWS Sans" panose="02010504010101010104" pitchFamily="50" charset="0"/>
                    </a:endParaRPr>
                  </a:p>
                </p:txBody>
              </p:sp>
              <p:sp>
                <p:nvSpPr>
                  <p:cNvPr id="51" name="Freeform 11">
                    <a:extLst>
                      <a:ext uri="{FF2B5EF4-FFF2-40B4-BE49-F238E27FC236}">
                        <a16:creationId xmlns:a16="http://schemas.microsoft.com/office/drawing/2014/main" id="{002E1652-C02D-2321-93D2-0A27576DF322}"/>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sz="700" dirty="0">
                      <a:solidFill>
                        <a:schemeClr val="bg2"/>
                      </a:solidFill>
                      <a:latin typeface="DWS Sans" panose="02010504010101010104" pitchFamily="50" charset="0"/>
                      <a:cs typeface="DWS Sans" panose="02010504010101010104" pitchFamily="50" charset="0"/>
                    </a:endParaRPr>
                  </a:p>
                </p:txBody>
              </p:sp>
              <p:sp>
                <p:nvSpPr>
                  <p:cNvPr id="52" name="Freeform 12">
                    <a:extLst>
                      <a:ext uri="{FF2B5EF4-FFF2-40B4-BE49-F238E27FC236}">
                        <a16:creationId xmlns:a16="http://schemas.microsoft.com/office/drawing/2014/main" id="{BAF190BE-EA5D-CA72-AD5F-48F1A609ABDD}"/>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sz="700" dirty="0">
                      <a:solidFill>
                        <a:schemeClr val="bg2"/>
                      </a:solidFill>
                      <a:latin typeface="DWS Sans" panose="02010504010101010104" pitchFamily="50" charset="0"/>
                      <a:cs typeface="DWS Sans" panose="02010504010101010104" pitchFamily="50" charset="0"/>
                    </a:endParaRPr>
                  </a:p>
                </p:txBody>
              </p:sp>
              <p:sp>
                <p:nvSpPr>
                  <p:cNvPr id="53" name="Oval 13">
                    <a:extLst>
                      <a:ext uri="{FF2B5EF4-FFF2-40B4-BE49-F238E27FC236}">
                        <a16:creationId xmlns:a16="http://schemas.microsoft.com/office/drawing/2014/main" id="{27547B80-F413-9184-3A7D-367196556227}"/>
                      </a:ext>
                    </a:extLst>
                  </p:cNvPr>
                  <p:cNvSpPr>
                    <a:spLocks noChangeArrowheads="1"/>
                  </p:cNvSpPr>
                  <p:nvPr/>
                </p:nvSpPr>
                <p:spPr bwMode="auto">
                  <a:xfrm>
                    <a:off x="1730375" y="2120902"/>
                    <a:ext cx="60325" cy="60325"/>
                  </a:xfrm>
                  <a:prstGeom prst="ellipse">
                    <a:avLst/>
                  </a:prstGeom>
                  <a:grpFill/>
                  <a:ln>
                    <a:noFill/>
                  </a:ln>
                </p:spPr>
                <p:txBody>
                  <a:bodyPr vert="horz" wrap="square" lIns="91440" tIns="45720" rIns="91440" bIns="45720" numCol="1" anchor="t" anchorCtr="0" compatLnSpc="1">
                    <a:prstTxWarp prst="textNoShape">
                      <a:avLst/>
                    </a:prstTxWarp>
                  </a:bodyPr>
                  <a:lstStyle/>
                  <a:p>
                    <a:endParaRPr lang="de-DE" sz="700" dirty="0">
                      <a:solidFill>
                        <a:schemeClr val="bg2"/>
                      </a:solidFill>
                      <a:latin typeface="DWS Sans" panose="02010504010101010104" pitchFamily="50" charset="0"/>
                      <a:cs typeface="DWS Sans" panose="02010504010101010104" pitchFamily="50" charset="0"/>
                    </a:endParaRPr>
                  </a:p>
                </p:txBody>
              </p:sp>
            </p:grpSp>
          </p:grpSp>
          <p:grpSp>
            <p:nvGrpSpPr>
              <p:cNvPr id="43" name="Gruppieren 193">
                <a:extLst>
                  <a:ext uri="{FF2B5EF4-FFF2-40B4-BE49-F238E27FC236}">
                    <a16:creationId xmlns:a16="http://schemas.microsoft.com/office/drawing/2014/main" id="{6BF711FA-86C7-B703-1025-B5217A45351E}"/>
                  </a:ext>
                </a:extLst>
              </p:cNvPr>
              <p:cNvGrpSpPr/>
              <p:nvPr/>
            </p:nvGrpSpPr>
            <p:grpSpPr>
              <a:xfrm>
                <a:off x="431540" y="3608777"/>
                <a:ext cx="817200" cy="412452"/>
                <a:chOff x="431540" y="1425917"/>
                <a:chExt cx="817200" cy="412452"/>
              </a:xfrm>
            </p:grpSpPr>
            <p:sp>
              <p:nvSpPr>
                <p:cNvPr id="44" name="Freeform 11">
                  <a:extLst>
                    <a:ext uri="{FF2B5EF4-FFF2-40B4-BE49-F238E27FC236}">
                      <a16:creationId xmlns:a16="http://schemas.microsoft.com/office/drawing/2014/main" id="{790E78BB-C62D-00A4-F8F5-392DBE7A2C1F}"/>
                    </a:ext>
                  </a:extLst>
                </p:cNvPr>
                <p:cNvSpPr>
                  <a:spLocks/>
                </p:cNvSpPr>
                <p:nvPr/>
              </p:nvSpPr>
              <p:spPr bwMode="auto">
                <a:xfrm>
                  <a:off x="431540" y="1487276"/>
                  <a:ext cx="246261" cy="351093"/>
                </a:xfrm>
                <a:custGeom>
                  <a:avLst/>
                  <a:gdLst>
                    <a:gd name="T0" fmla="*/ 160 w 378"/>
                    <a:gd name="T1" fmla="*/ 534 h 534"/>
                    <a:gd name="T2" fmla="*/ 378 w 378"/>
                    <a:gd name="T3" fmla="*/ 139 h 534"/>
                    <a:gd name="T4" fmla="*/ 298 w 378"/>
                    <a:gd name="T5" fmla="*/ 0 h 534"/>
                    <a:gd name="T6" fmla="*/ 0 w 378"/>
                    <a:gd name="T7" fmla="*/ 534 h 534"/>
                    <a:gd name="T8" fmla="*/ 160 w 378"/>
                    <a:gd name="T9" fmla="*/ 534 h 534"/>
                  </a:gdLst>
                  <a:ahLst/>
                  <a:cxnLst>
                    <a:cxn ang="0">
                      <a:pos x="T0" y="T1"/>
                    </a:cxn>
                    <a:cxn ang="0">
                      <a:pos x="T2" y="T3"/>
                    </a:cxn>
                    <a:cxn ang="0">
                      <a:pos x="T4" y="T5"/>
                    </a:cxn>
                    <a:cxn ang="0">
                      <a:pos x="T6" y="T7"/>
                    </a:cxn>
                    <a:cxn ang="0">
                      <a:pos x="T8" y="T9"/>
                    </a:cxn>
                  </a:cxnLst>
                  <a:rect l="0" t="0" r="r" b="b"/>
                  <a:pathLst>
                    <a:path w="378" h="534">
                      <a:moveTo>
                        <a:pt x="160" y="534"/>
                      </a:moveTo>
                      <a:cubicBezTo>
                        <a:pt x="160" y="367"/>
                        <a:pt x="247" y="221"/>
                        <a:pt x="378" y="139"/>
                      </a:cubicBezTo>
                      <a:cubicBezTo>
                        <a:pt x="298" y="0"/>
                        <a:pt x="298" y="0"/>
                        <a:pt x="298" y="0"/>
                      </a:cubicBezTo>
                      <a:cubicBezTo>
                        <a:pt x="119" y="111"/>
                        <a:pt x="0" y="308"/>
                        <a:pt x="0" y="534"/>
                      </a:cubicBezTo>
                      <a:lnTo>
                        <a:pt x="160" y="534"/>
                      </a:lnTo>
                      <a:close/>
                    </a:path>
                  </a:pathLst>
                </a:custGeom>
                <a:solidFill>
                  <a:srgbClr val="E84057"/>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de-DE" sz="700" dirty="0">
                    <a:solidFill>
                      <a:schemeClr val="bg2"/>
                    </a:solidFill>
                    <a:latin typeface="DWS Sans" panose="02010504010101010104" pitchFamily="50" charset="0"/>
                    <a:cs typeface="DWS Sans" panose="02010504010101010104" pitchFamily="50" charset="0"/>
                  </a:endParaRPr>
                </a:p>
              </p:txBody>
            </p:sp>
            <p:sp>
              <p:nvSpPr>
                <p:cNvPr id="45" name="Freeform 12">
                  <a:extLst>
                    <a:ext uri="{FF2B5EF4-FFF2-40B4-BE49-F238E27FC236}">
                      <a16:creationId xmlns:a16="http://schemas.microsoft.com/office/drawing/2014/main" id="{26368281-A6F3-5BB0-1148-0A4ABD44129B}"/>
                    </a:ext>
                  </a:extLst>
                </p:cNvPr>
                <p:cNvSpPr>
                  <a:spLocks/>
                </p:cNvSpPr>
                <p:nvPr/>
              </p:nvSpPr>
              <p:spPr bwMode="auto">
                <a:xfrm>
                  <a:off x="645883" y="1425917"/>
                  <a:ext cx="388514" cy="140878"/>
                </a:xfrm>
                <a:custGeom>
                  <a:avLst/>
                  <a:gdLst>
                    <a:gd name="T0" fmla="*/ 80 w 596"/>
                    <a:gd name="T1" fmla="*/ 214 h 214"/>
                    <a:gd name="T2" fmla="*/ 298 w 596"/>
                    <a:gd name="T3" fmla="*/ 160 h 214"/>
                    <a:gd name="T4" fmla="*/ 516 w 596"/>
                    <a:gd name="T5" fmla="*/ 214 h 214"/>
                    <a:gd name="T6" fmla="*/ 596 w 596"/>
                    <a:gd name="T7" fmla="*/ 75 h 214"/>
                    <a:gd name="T8" fmla="*/ 298 w 596"/>
                    <a:gd name="T9" fmla="*/ 0 h 214"/>
                    <a:gd name="T10" fmla="*/ 0 w 596"/>
                    <a:gd name="T11" fmla="*/ 75 h 214"/>
                    <a:gd name="T12" fmla="*/ 80 w 596"/>
                    <a:gd name="T13" fmla="*/ 214 h 214"/>
                  </a:gdLst>
                  <a:ahLst/>
                  <a:cxnLst>
                    <a:cxn ang="0">
                      <a:pos x="T0" y="T1"/>
                    </a:cxn>
                    <a:cxn ang="0">
                      <a:pos x="T2" y="T3"/>
                    </a:cxn>
                    <a:cxn ang="0">
                      <a:pos x="T4" y="T5"/>
                    </a:cxn>
                    <a:cxn ang="0">
                      <a:pos x="T6" y="T7"/>
                    </a:cxn>
                    <a:cxn ang="0">
                      <a:pos x="T8" y="T9"/>
                    </a:cxn>
                    <a:cxn ang="0">
                      <a:pos x="T10" y="T11"/>
                    </a:cxn>
                    <a:cxn ang="0">
                      <a:pos x="T12" y="T13"/>
                    </a:cxn>
                  </a:cxnLst>
                  <a:rect l="0" t="0" r="r" b="b"/>
                  <a:pathLst>
                    <a:path w="596" h="214">
                      <a:moveTo>
                        <a:pt x="80" y="214"/>
                      </a:moveTo>
                      <a:cubicBezTo>
                        <a:pt x="145" y="179"/>
                        <a:pt x="219" y="160"/>
                        <a:pt x="298" y="160"/>
                      </a:cubicBezTo>
                      <a:cubicBezTo>
                        <a:pt x="377" y="160"/>
                        <a:pt x="451" y="179"/>
                        <a:pt x="516" y="214"/>
                      </a:cubicBezTo>
                      <a:cubicBezTo>
                        <a:pt x="596" y="75"/>
                        <a:pt x="596" y="75"/>
                        <a:pt x="596" y="75"/>
                      </a:cubicBezTo>
                      <a:cubicBezTo>
                        <a:pt x="507" y="27"/>
                        <a:pt x="406" y="0"/>
                        <a:pt x="298" y="0"/>
                      </a:cubicBezTo>
                      <a:cubicBezTo>
                        <a:pt x="190" y="0"/>
                        <a:pt x="89" y="27"/>
                        <a:pt x="0" y="75"/>
                      </a:cubicBezTo>
                      <a:lnTo>
                        <a:pt x="80" y="214"/>
                      </a:ln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de-DE" sz="700" dirty="0">
                    <a:solidFill>
                      <a:schemeClr val="bg2"/>
                    </a:solidFill>
                    <a:latin typeface="DWS Sans" panose="02010504010101010104" pitchFamily="50" charset="0"/>
                    <a:cs typeface="DWS Sans" panose="02010504010101010104" pitchFamily="50" charset="0"/>
                  </a:endParaRPr>
                </a:p>
              </p:txBody>
            </p:sp>
            <p:sp>
              <p:nvSpPr>
                <p:cNvPr id="46" name="Freeform 13">
                  <a:extLst>
                    <a:ext uri="{FF2B5EF4-FFF2-40B4-BE49-F238E27FC236}">
                      <a16:creationId xmlns:a16="http://schemas.microsoft.com/office/drawing/2014/main" id="{5B6C276B-183E-F2B7-62CD-BE5FF57E4513}"/>
                    </a:ext>
                  </a:extLst>
                </p:cNvPr>
                <p:cNvSpPr>
                  <a:spLocks/>
                </p:cNvSpPr>
                <p:nvPr/>
              </p:nvSpPr>
              <p:spPr bwMode="auto">
                <a:xfrm>
                  <a:off x="1002479" y="1487276"/>
                  <a:ext cx="246261" cy="351093"/>
                </a:xfrm>
                <a:custGeom>
                  <a:avLst/>
                  <a:gdLst>
                    <a:gd name="T0" fmla="*/ 80 w 378"/>
                    <a:gd name="T1" fmla="*/ 0 h 534"/>
                    <a:gd name="T2" fmla="*/ 0 w 378"/>
                    <a:gd name="T3" fmla="*/ 139 h 534"/>
                    <a:gd name="T4" fmla="*/ 218 w 378"/>
                    <a:gd name="T5" fmla="*/ 534 h 534"/>
                    <a:gd name="T6" fmla="*/ 378 w 378"/>
                    <a:gd name="T7" fmla="*/ 534 h 534"/>
                    <a:gd name="T8" fmla="*/ 80 w 378"/>
                    <a:gd name="T9" fmla="*/ 0 h 534"/>
                  </a:gdLst>
                  <a:ahLst/>
                  <a:cxnLst>
                    <a:cxn ang="0">
                      <a:pos x="T0" y="T1"/>
                    </a:cxn>
                    <a:cxn ang="0">
                      <a:pos x="T2" y="T3"/>
                    </a:cxn>
                    <a:cxn ang="0">
                      <a:pos x="T4" y="T5"/>
                    </a:cxn>
                    <a:cxn ang="0">
                      <a:pos x="T6" y="T7"/>
                    </a:cxn>
                    <a:cxn ang="0">
                      <a:pos x="T8" y="T9"/>
                    </a:cxn>
                  </a:cxnLst>
                  <a:rect l="0" t="0" r="r" b="b"/>
                  <a:pathLst>
                    <a:path w="378" h="534">
                      <a:moveTo>
                        <a:pt x="80" y="0"/>
                      </a:moveTo>
                      <a:cubicBezTo>
                        <a:pt x="0" y="139"/>
                        <a:pt x="0" y="139"/>
                        <a:pt x="0" y="139"/>
                      </a:cubicBezTo>
                      <a:cubicBezTo>
                        <a:pt x="131" y="221"/>
                        <a:pt x="218" y="367"/>
                        <a:pt x="218" y="534"/>
                      </a:cubicBezTo>
                      <a:cubicBezTo>
                        <a:pt x="378" y="534"/>
                        <a:pt x="378" y="534"/>
                        <a:pt x="378" y="534"/>
                      </a:cubicBezTo>
                      <a:cubicBezTo>
                        <a:pt x="378" y="308"/>
                        <a:pt x="259" y="111"/>
                        <a:pt x="80" y="0"/>
                      </a:cubicBez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de-DE" sz="700" dirty="0">
                    <a:solidFill>
                      <a:schemeClr val="bg2"/>
                    </a:solidFill>
                    <a:latin typeface="DWS Sans" panose="02010504010101010104" pitchFamily="50" charset="0"/>
                    <a:cs typeface="DWS Sans" panose="02010504010101010104" pitchFamily="50" charset="0"/>
                  </a:endParaRPr>
                </a:p>
              </p:txBody>
            </p:sp>
            <p:sp>
              <p:nvSpPr>
                <p:cNvPr id="47" name="Freihandform: Form 213">
                  <a:extLst>
                    <a:ext uri="{FF2B5EF4-FFF2-40B4-BE49-F238E27FC236}">
                      <a16:creationId xmlns:a16="http://schemas.microsoft.com/office/drawing/2014/main" id="{4808CDFF-9E8A-DA72-4A50-254E5286034E}"/>
                    </a:ext>
                  </a:extLst>
                </p:cNvPr>
                <p:cNvSpPr>
                  <a:spLocks/>
                </p:cNvSpPr>
                <p:nvPr/>
              </p:nvSpPr>
              <p:spPr bwMode="auto">
                <a:xfrm>
                  <a:off x="556734" y="1552212"/>
                  <a:ext cx="566812" cy="286157"/>
                </a:xfrm>
                <a:custGeom>
                  <a:avLst/>
                  <a:gdLst>
                    <a:gd name="connsiteX0" fmla="*/ 283406 w 566812"/>
                    <a:gd name="connsiteY0" fmla="*/ 0 h 286157"/>
                    <a:gd name="connsiteX1" fmla="*/ 566812 w 566812"/>
                    <a:gd name="connsiteY1" fmla="*/ 286157 h 286157"/>
                    <a:gd name="connsiteX2" fmla="*/ 506571 w 566812"/>
                    <a:gd name="connsiteY2" fmla="*/ 286157 h 286157"/>
                    <a:gd name="connsiteX3" fmla="*/ 283406 w 566812"/>
                    <a:gd name="connsiteY3" fmla="*/ 60826 h 286157"/>
                    <a:gd name="connsiteX4" fmla="*/ 60241 w 566812"/>
                    <a:gd name="connsiteY4" fmla="*/ 286157 h 286157"/>
                    <a:gd name="connsiteX5" fmla="*/ 0 w 566812"/>
                    <a:gd name="connsiteY5" fmla="*/ 286157 h 286157"/>
                    <a:gd name="connsiteX6" fmla="*/ 283406 w 566812"/>
                    <a:gd name="connsiteY6" fmla="*/ 0 h 28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812" h="286157">
                      <a:moveTo>
                        <a:pt x="283406" y="0"/>
                      </a:moveTo>
                      <a:cubicBezTo>
                        <a:pt x="439768" y="0"/>
                        <a:pt x="566812" y="128277"/>
                        <a:pt x="566812" y="286157"/>
                      </a:cubicBezTo>
                      <a:lnTo>
                        <a:pt x="506571" y="286157"/>
                      </a:lnTo>
                      <a:cubicBezTo>
                        <a:pt x="506571" y="161837"/>
                        <a:pt x="406532" y="60826"/>
                        <a:pt x="283406" y="60826"/>
                      </a:cubicBezTo>
                      <a:cubicBezTo>
                        <a:pt x="160281" y="60826"/>
                        <a:pt x="60241" y="161837"/>
                        <a:pt x="60241" y="286157"/>
                      </a:cubicBezTo>
                      <a:lnTo>
                        <a:pt x="0" y="286157"/>
                      </a:lnTo>
                      <a:cubicBezTo>
                        <a:pt x="0" y="128277"/>
                        <a:pt x="127044" y="0"/>
                        <a:pt x="283406" y="0"/>
                      </a:cubicBez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de-DE" sz="700" dirty="0">
                    <a:solidFill>
                      <a:schemeClr val="bg2"/>
                    </a:solidFill>
                    <a:latin typeface="DWS Sans" panose="02010504010101010104" pitchFamily="50" charset="0"/>
                    <a:cs typeface="DWS Sans" panose="02010504010101010104" pitchFamily="50" charset="0"/>
                  </a:endParaRPr>
                </a:p>
              </p:txBody>
            </p:sp>
          </p:grpSp>
        </p:grpSp>
        <p:grpSp>
          <p:nvGrpSpPr>
            <p:cNvPr id="36" name="Group 467">
              <a:extLst>
                <a:ext uri="{FF2B5EF4-FFF2-40B4-BE49-F238E27FC236}">
                  <a16:creationId xmlns:a16="http://schemas.microsoft.com/office/drawing/2014/main" id="{BCECB815-DE0B-DF81-9BAF-5463AF7F5D8B}"/>
                </a:ext>
              </a:extLst>
            </p:cNvPr>
            <p:cNvGrpSpPr/>
            <p:nvPr/>
          </p:nvGrpSpPr>
          <p:grpSpPr>
            <a:xfrm>
              <a:off x="543353" y="9453303"/>
              <a:ext cx="723900" cy="231413"/>
              <a:chOff x="528848" y="3653912"/>
              <a:chExt cx="876279" cy="287878"/>
            </a:xfrm>
          </p:grpSpPr>
          <p:sp>
            <p:nvSpPr>
              <p:cNvPr id="37" name="Rechteck 273">
                <a:extLst>
                  <a:ext uri="{FF2B5EF4-FFF2-40B4-BE49-F238E27FC236}">
                    <a16:creationId xmlns:a16="http://schemas.microsoft.com/office/drawing/2014/main" id="{54B1991E-86F0-8952-D093-981AFAC06D2C}"/>
                  </a:ext>
                </a:extLst>
              </p:cNvPr>
              <p:cNvSpPr/>
              <p:nvPr/>
            </p:nvSpPr>
            <p:spPr>
              <a:xfrm>
                <a:off x="528848" y="3747213"/>
                <a:ext cx="876279" cy="1945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bg1"/>
                  </a:buClr>
                </a:pPr>
                <a:r>
                  <a:rPr lang="en-GB" sz="700" dirty="0" err="1">
                    <a:solidFill>
                      <a:schemeClr val="bg2"/>
                    </a:solidFill>
                    <a:latin typeface="DWS Sans Light" panose="02010404010101010104" pitchFamily="50" charset="0"/>
                    <a:cs typeface="DWS Sans Light" panose="02010404010101010104" pitchFamily="50" charset="0"/>
                  </a:rPr>
                  <a:t>lungo</a:t>
                </a:r>
                <a:r>
                  <a:rPr lang="en-GB" sz="700" dirty="0">
                    <a:solidFill>
                      <a:schemeClr val="bg2"/>
                    </a:solidFill>
                    <a:latin typeface="DWS Sans Light" panose="02010404010101010104" pitchFamily="50" charset="0"/>
                    <a:cs typeface="DWS Sans Light" panose="02010404010101010104" pitchFamily="50" charset="0"/>
                  </a:rPr>
                  <a:t>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p:txBody>
          </p:sp>
          <p:sp>
            <p:nvSpPr>
              <p:cNvPr id="38" name="Rectangle 469">
                <a:extLst>
                  <a:ext uri="{FF2B5EF4-FFF2-40B4-BE49-F238E27FC236}">
                    <a16:creationId xmlns:a16="http://schemas.microsoft.com/office/drawing/2014/main" id="{39CB4188-78AA-7683-2975-8E56152CD8B4}"/>
                  </a:ext>
                </a:extLst>
              </p:cNvPr>
              <p:cNvSpPr/>
              <p:nvPr/>
            </p:nvSpPr>
            <p:spPr bwMode="auto">
              <a:xfrm>
                <a:off x="612278" y="3653912"/>
                <a:ext cx="205200" cy="84034"/>
              </a:xfrm>
              <a:prstGeom prst="rect">
                <a:avLst/>
              </a:prstGeom>
              <a:solidFill>
                <a:srgbClr val="E84057"/>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sp>
            <p:nvSpPr>
              <p:cNvPr id="39" name="Rectangle 472">
                <a:extLst>
                  <a:ext uri="{FF2B5EF4-FFF2-40B4-BE49-F238E27FC236}">
                    <a16:creationId xmlns:a16="http://schemas.microsoft.com/office/drawing/2014/main" id="{A5935435-8828-EDC3-23AC-6B23B48CFD06}"/>
                  </a:ext>
                </a:extLst>
              </p:cNvPr>
              <p:cNvSpPr/>
              <p:nvPr/>
            </p:nvSpPr>
            <p:spPr bwMode="auto">
              <a:xfrm>
                <a:off x="1069462" y="3653912"/>
                <a:ext cx="205200" cy="84034"/>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sp>
            <p:nvSpPr>
              <p:cNvPr id="40" name="Rectangle 473">
                <a:extLst>
                  <a:ext uri="{FF2B5EF4-FFF2-40B4-BE49-F238E27FC236}">
                    <a16:creationId xmlns:a16="http://schemas.microsoft.com/office/drawing/2014/main" id="{3E8B3306-0853-01AD-EC97-0DF77CC6C048}"/>
                  </a:ext>
                </a:extLst>
              </p:cNvPr>
              <p:cNvSpPr/>
              <p:nvPr/>
            </p:nvSpPr>
            <p:spPr bwMode="auto">
              <a:xfrm>
                <a:off x="840869" y="3653912"/>
                <a:ext cx="205200" cy="84034"/>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grpSp>
      </p:grpSp>
      <p:grpSp>
        <p:nvGrpSpPr>
          <p:cNvPr id="58" name="Gruppieren 57">
            <a:extLst>
              <a:ext uri="{FF2B5EF4-FFF2-40B4-BE49-F238E27FC236}">
                <a16:creationId xmlns:a16="http://schemas.microsoft.com/office/drawing/2014/main" id="{681E0E45-378D-9675-3D18-3FC666C985FF}"/>
              </a:ext>
            </a:extLst>
          </p:cNvPr>
          <p:cNvGrpSpPr/>
          <p:nvPr/>
        </p:nvGrpSpPr>
        <p:grpSpPr>
          <a:xfrm>
            <a:off x="536134" y="4952869"/>
            <a:ext cx="700155" cy="677841"/>
            <a:chOff x="3782664" y="1804401"/>
            <a:chExt cx="700155" cy="677841"/>
          </a:xfrm>
        </p:grpSpPr>
        <p:grpSp>
          <p:nvGrpSpPr>
            <p:cNvPr id="59" name="Group 56">
              <a:extLst>
                <a:ext uri="{FF2B5EF4-FFF2-40B4-BE49-F238E27FC236}">
                  <a16:creationId xmlns:a16="http://schemas.microsoft.com/office/drawing/2014/main" id="{04917C38-0F7F-C3FA-443E-7F3C31463697}"/>
                </a:ext>
              </a:extLst>
            </p:cNvPr>
            <p:cNvGrpSpPr/>
            <p:nvPr/>
          </p:nvGrpSpPr>
          <p:grpSpPr>
            <a:xfrm>
              <a:off x="3782664" y="1804401"/>
              <a:ext cx="700155" cy="473651"/>
              <a:chOff x="327038" y="1425917"/>
              <a:chExt cx="1045627" cy="712114"/>
            </a:xfrm>
          </p:grpSpPr>
          <p:sp>
            <p:nvSpPr>
              <p:cNvPr id="65" name="Rechteck 272">
                <a:extLst>
                  <a:ext uri="{FF2B5EF4-FFF2-40B4-BE49-F238E27FC236}">
                    <a16:creationId xmlns:a16="http://schemas.microsoft.com/office/drawing/2014/main" id="{6897637A-F999-4AAE-8957-8DE5B3BEF90C}"/>
                  </a:ext>
                </a:extLst>
              </p:cNvPr>
              <p:cNvSpPr/>
              <p:nvPr/>
            </p:nvSpPr>
            <p:spPr>
              <a:xfrm>
                <a:off x="327038" y="1926911"/>
                <a:ext cx="1045627" cy="211120"/>
              </a:xfrm>
              <a:prstGeom prst="rect">
                <a:avLst/>
              </a:prstGeom>
              <a:noFill/>
              <a:ln w="25400" cap="flat" cmpd="sng" algn="ctr">
                <a:noFill/>
                <a:prstDash val="solid"/>
              </a:ln>
              <a:effectLst/>
            </p:spPr>
            <p:txBody>
              <a:bodyPr lIns="72000" tIns="72000" rIns="72000" bIns="72000" rtlCol="0" anchor="ctr"/>
              <a:lstStyle/>
              <a:p>
                <a:pPr algn="ctr">
                  <a:spcBef>
                    <a:spcPts val="600"/>
                  </a:spcBef>
                  <a:buClr>
                    <a:schemeClr val="bg1"/>
                  </a:buClr>
                </a:pPr>
                <a:r>
                  <a:rPr lang="en-GB" sz="700" dirty="0">
                    <a:solidFill>
                      <a:schemeClr val="bg2"/>
                    </a:solidFill>
                    <a:latin typeface="DWS Sans Light" panose="02010404010101010104" pitchFamily="50" charset="0"/>
                    <a:cs typeface="DWS Sans Light" panose="02010404010101010104" pitchFamily="50" charset="0"/>
                  </a:rPr>
                  <a:t>breve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p:txBody>
          </p:sp>
          <p:grpSp>
            <p:nvGrpSpPr>
              <p:cNvPr id="66" name="Gruppieren 348">
                <a:extLst>
                  <a:ext uri="{FF2B5EF4-FFF2-40B4-BE49-F238E27FC236}">
                    <a16:creationId xmlns:a16="http://schemas.microsoft.com/office/drawing/2014/main" id="{D8B82320-94F6-8EF7-BF10-B840B41A85D6}"/>
                  </a:ext>
                </a:extLst>
              </p:cNvPr>
              <p:cNvGrpSpPr/>
              <p:nvPr/>
            </p:nvGrpSpPr>
            <p:grpSpPr>
              <a:xfrm rot="3291935">
                <a:off x="788748" y="1645811"/>
                <a:ext cx="84660" cy="367354"/>
                <a:chOff x="1662113" y="1735139"/>
                <a:chExt cx="192088" cy="833505"/>
              </a:xfrm>
            </p:grpSpPr>
            <p:grpSp>
              <p:nvGrpSpPr>
                <p:cNvPr id="72" name="Gruppieren 349">
                  <a:extLst>
                    <a:ext uri="{FF2B5EF4-FFF2-40B4-BE49-F238E27FC236}">
                      <a16:creationId xmlns:a16="http://schemas.microsoft.com/office/drawing/2014/main" id="{97CAAB87-19C5-71C4-ED54-2EB35CC7558C}"/>
                    </a:ext>
                  </a:extLst>
                </p:cNvPr>
                <p:cNvGrpSpPr/>
                <p:nvPr/>
              </p:nvGrpSpPr>
              <p:grpSpPr>
                <a:xfrm>
                  <a:off x="1662113" y="1735139"/>
                  <a:ext cx="192088" cy="506413"/>
                  <a:chOff x="1662113" y="1735139"/>
                  <a:chExt cx="192088" cy="506413"/>
                </a:xfrm>
              </p:grpSpPr>
              <p:sp>
                <p:nvSpPr>
                  <p:cNvPr id="78" name="Freeform 10">
                    <a:extLst>
                      <a:ext uri="{FF2B5EF4-FFF2-40B4-BE49-F238E27FC236}">
                        <a16:creationId xmlns:a16="http://schemas.microsoft.com/office/drawing/2014/main" id="{5D283322-D3B5-881F-93B7-D99A1047563E}"/>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solidFill>
                    <a:srgbClr val="B7C5C8"/>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79" name="Freeform 12">
                    <a:extLst>
                      <a:ext uri="{FF2B5EF4-FFF2-40B4-BE49-F238E27FC236}">
                        <a16:creationId xmlns:a16="http://schemas.microsoft.com/office/drawing/2014/main" id="{AD77C997-BCB6-C196-D34A-6A984DABE49E}"/>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80" name="Oval 13">
                    <a:extLst>
                      <a:ext uri="{FF2B5EF4-FFF2-40B4-BE49-F238E27FC236}">
                        <a16:creationId xmlns:a16="http://schemas.microsoft.com/office/drawing/2014/main" id="{95EEBC66-C58C-7328-8A5E-15CB3D709E12}"/>
                      </a:ext>
                    </a:extLst>
                  </p:cNvPr>
                  <p:cNvSpPr>
                    <a:spLocks noChangeArrowheads="1"/>
                  </p:cNvSpPr>
                  <p:nvPr/>
                </p:nvSpPr>
                <p:spPr bwMode="auto">
                  <a:xfrm>
                    <a:off x="1730375" y="2120902"/>
                    <a:ext cx="60325" cy="60325"/>
                  </a:xfrm>
                  <a:prstGeom prst="ellipse">
                    <a:avLst/>
                  </a:prstGeom>
                  <a:solidFill>
                    <a:srgbClr val="6D828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81" name="Freeform 11">
                    <a:extLst>
                      <a:ext uri="{FF2B5EF4-FFF2-40B4-BE49-F238E27FC236}">
                        <a16:creationId xmlns:a16="http://schemas.microsoft.com/office/drawing/2014/main" id="{79394FDA-890F-B292-D66A-147417F41F7B}"/>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solidFill>
                    <a:srgbClr val="6D828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grpSp>
            <p:grpSp>
              <p:nvGrpSpPr>
                <p:cNvPr id="73" name="Gruppieren 350">
                  <a:extLst>
                    <a:ext uri="{FF2B5EF4-FFF2-40B4-BE49-F238E27FC236}">
                      <a16:creationId xmlns:a16="http://schemas.microsoft.com/office/drawing/2014/main" id="{245295E2-15A7-F943-C357-EFBB7A939BB3}"/>
                    </a:ext>
                  </a:extLst>
                </p:cNvPr>
                <p:cNvGrpSpPr/>
                <p:nvPr/>
              </p:nvGrpSpPr>
              <p:grpSpPr>
                <a:xfrm flipV="1">
                  <a:off x="1662113" y="2062231"/>
                  <a:ext cx="192088" cy="506413"/>
                  <a:chOff x="1662113" y="1735139"/>
                  <a:chExt cx="192088" cy="506413"/>
                </a:xfrm>
                <a:noFill/>
              </p:grpSpPr>
              <p:sp>
                <p:nvSpPr>
                  <p:cNvPr id="74" name="Freeform 10">
                    <a:extLst>
                      <a:ext uri="{FF2B5EF4-FFF2-40B4-BE49-F238E27FC236}">
                        <a16:creationId xmlns:a16="http://schemas.microsoft.com/office/drawing/2014/main" id="{F743B978-611F-732B-EDD4-4526667B9F42}"/>
                      </a:ext>
                    </a:extLst>
                  </p:cNvPr>
                  <p:cNvSpPr>
                    <a:spLocks/>
                  </p:cNvSpPr>
                  <p:nvPr/>
                </p:nvSpPr>
                <p:spPr bwMode="auto">
                  <a:xfrm>
                    <a:off x="1662113" y="1735139"/>
                    <a:ext cx="192088" cy="506413"/>
                  </a:xfrm>
                  <a:custGeom>
                    <a:avLst/>
                    <a:gdLst>
                      <a:gd name="T0" fmla="*/ 26 w 51"/>
                      <a:gd name="T1" fmla="*/ 133 h 133"/>
                      <a:gd name="T2" fmla="*/ 50 w 51"/>
                      <a:gd name="T3" fmla="*/ 107 h 133"/>
                      <a:gd name="T4" fmla="*/ 41 w 51"/>
                      <a:gd name="T5" fmla="*/ 13 h 133"/>
                      <a:gd name="T6" fmla="*/ 26 w 51"/>
                      <a:gd name="T7" fmla="*/ 0 h 133"/>
                      <a:gd name="T8" fmla="*/ 11 w 51"/>
                      <a:gd name="T9" fmla="*/ 13 h 133"/>
                      <a:gd name="T10" fmla="*/ 1 w 51"/>
                      <a:gd name="T11" fmla="*/ 106 h 133"/>
                      <a:gd name="T12" fmla="*/ 26 w 5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51" h="133">
                        <a:moveTo>
                          <a:pt x="26" y="133"/>
                        </a:moveTo>
                        <a:cubicBezTo>
                          <a:pt x="40" y="133"/>
                          <a:pt x="51" y="121"/>
                          <a:pt x="50" y="107"/>
                        </a:cubicBezTo>
                        <a:cubicBezTo>
                          <a:pt x="41" y="13"/>
                          <a:pt x="41" y="13"/>
                          <a:pt x="41" y="13"/>
                        </a:cubicBezTo>
                        <a:cubicBezTo>
                          <a:pt x="40" y="5"/>
                          <a:pt x="34" y="0"/>
                          <a:pt x="26" y="0"/>
                        </a:cubicBezTo>
                        <a:cubicBezTo>
                          <a:pt x="18" y="0"/>
                          <a:pt x="12" y="5"/>
                          <a:pt x="11" y="13"/>
                        </a:cubicBezTo>
                        <a:cubicBezTo>
                          <a:pt x="1" y="106"/>
                          <a:pt x="1" y="106"/>
                          <a:pt x="1" y="106"/>
                        </a:cubicBezTo>
                        <a:cubicBezTo>
                          <a:pt x="0" y="121"/>
                          <a:pt x="11" y="133"/>
                          <a:pt x="26" y="13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75" name="Freeform 11">
                    <a:extLst>
                      <a:ext uri="{FF2B5EF4-FFF2-40B4-BE49-F238E27FC236}">
                        <a16:creationId xmlns:a16="http://schemas.microsoft.com/office/drawing/2014/main" id="{9BB01826-D068-5127-6EBE-0BAE6BD6BF74}"/>
                      </a:ext>
                    </a:extLst>
                  </p:cNvPr>
                  <p:cNvSpPr>
                    <a:spLocks/>
                  </p:cNvSpPr>
                  <p:nvPr/>
                </p:nvSpPr>
                <p:spPr bwMode="auto">
                  <a:xfrm>
                    <a:off x="1738313" y="1914527"/>
                    <a:ext cx="41275" cy="250825"/>
                  </a:xfrm>
                  <a:custGeom>
                    <a:avLst/>
                    <a:gdLst>
                      <a:gd name="T0" fmla="*/ 6 w 11"/>
                      <a:gd name="T1" fmla="*/ 66 h 66"/>
                      <a:gd name="T2" fmla="*/ 11 w 11"/>
                      <a:gd name="T3" fmla="*/ 60 h 66"/>
                      <a:gd name="T4" fmla="*/ 11 w 11"/>
                      <a:gd name="T5" fmla="*/ 5 h 66"/>
                      <a:gd name="T6" fmla="*/ 6 w 11"/>
                      <a:gd name="T7" fmla="*/ 0 h 66"/>
                      <a:gd name="T8" fmla="*/ 1 w 11"/>
                      <a:gd name="T9" fmla="*/ 5 h 66"/>
                      <a:gd name="T10" fmla="*/ 0 w 11"/>
                      <a:gd name="T11" fmla="*/ 60 h 66"/>
                      <a:gd name="T12" fmla="*/ 6 w 1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1" h="66">
                        <a:moveTo>
                          <a:pt x="6" y="66"/>
                        </a:moveTo>
                        <a:cubicBezTo>
                          <a:pt x="9" y="66"/>
                          <a:pt x="11" y="63"/>
                          <a:pt x="11" y="60"/>
                        </a:cubicBezTo>
                        <a:cubicBezTo>
                          <a:pt x="11" y="5"/>
                          <a:pt x="11" y="5"/>
                          <a:pt x="11" y="5"/>
                        </a:cubicBezTo>
                        <a:cubicBezTo>
                          <a:pt x="11" y="2"/>
                          <a:pt x="9" y="0"/>
                          <a:pt x="6" y="0"/>
                        </a:cubicBezTo>
                        <a:cubicBezTo>
                          <a:pt x="3" y="0"/>
                          <a:pt x="1" y="2"/>
                          <a:pt x="1" y="5"/>
                        </a:cubicBezTo>
                        <a:cubicBezTo>
                          <a:pt x="0" y="60"/>
                          <a:pt x="0" y="60"/>
                          <a:pt x="0" y="60"/>
                        </a:cubicBezTo>
                        <a:cubicBezTo>
                          <a:pt x="0" y="63"/>
                          <a:pt x="3" y="66"/>
                          <a:pt x="6" y="6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76" name="Freeform 12">
                    <a:extLst>
                      <a:ext uri="{FF2B5EF4-FFF2-40B4-BE49-F238E27FC236}">
                        <a16:creationId xmlns:a16="http://schemas.microsoft.com/office/drawing/2014/main" id="{E751372E-E8A6-EB21-AEE6-00B973171F68}"/>
                      </a:ext>
                    </a:extLst>
                  </p:cNvPr>
                  <p:cNvSpPr>
                    <a:spLocks/>
                  </p:cNvSpPr>
                  <p:nvPr/>
                </p:nvSpPr>
                <p:spPr bwMode="auto">
                  <a:xfrm>
                    <a:off x="1700213" y="2089152"/>
                    <a:ext cx="120650" cy="122238"/>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77" name="Oval 13">
                    <a:extLst>
                      <a:ext uri="{FF2B5EF4-FFF2-40B4-BE49-F238E27FC236}">
                        <a16:creationId xmlns:a16="http://schemas.microsoft.com/office/drawing/2014/main" id="{7E7EDC50-439E-CD7D-8504-2FB9E4ADD586}"/>
                      </a:ext>
                    </a:extLst>
                  </p:cNvPr>
                  <p:cNvSpPr>
                    <a:spLocks noChangeArrowheads="1"/>
                  </p:cNvSpPr>
                  <p:nvPr/>
                </p:nvSpPr>
                <p:spPr bwMode="auto">
                  <a:xfrm>
                    <a:off x="1730375" y="2120902"/>
                    <a:ext cx="60325" cy="603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grpSp>
          </p:grpSp>
          <p:grpSp>
            <p:nvGrpSpPr>
              <p:cNvPr id="67" name="Gruppieren 359">
                <a:extLst>
                  <a:ext uri="{FF2B5EF4-FFF2-40B4-BE49-F238E27FC236}">
                    <a16:creationId xmlns:a16="http://schemas.microsoft.com/office/drawing/2014/main" id="{0FECA441-2735-1EE3-4CDD-260A2BE72E7B}"/>
                  </a:ext>
                </a:extLst>
              </p:cNvPr>
              <p:cNvGrpSpPr/>
              <p:nvPr/>
            </p:nvGrpSpPr>
            <p:grpSpPr>
              <a:xfrm>
                <a:off x="431540" y="1425917"/>
                <a:ext cx="817200" cy="412452"/>
                <a:chOff x="431540" y="1425917"/>
                <a:chExt cx="817200" cy="412452"/>
              </a:xfrm>
            </p:grpSpPr>
            <p:sp>
              <p:nvSpPr>
                <p:cNvPr id="68" name="Freeform 11">
                  <a:extLst>
                    <a:ext uri="{FF2B5EF4-FFF2-40B4-BE49-F238E27FC236}">
                      <a16:creationId xmlns:a16="http://schemas.microsoft.com/office/drawing/2014/main" id="{7C5EDBF9-C9C6-9576-6D29-5D9DD9B63506}"/>
                    </a:ext>
                  </a:extLst>
                </p:cNvPr>
                <p:cNvSpPr>
                  <a:spLocks/>
                </p:cNvSpPr>
                <p:nvPr/>
              </p:nvSpPr>
              <p:spPr bwMode="auto">
                <a:xfrm>
                  <a:off x="431540" y="1487276"/>
                  <a:ext cx="246261" cy="351093"/>
                </a:xfrm>
                <a:custGeom>
                  <a:avLst/>
                  <a:gdLst>
                    <a:gd name="T0" fmla="*/ 160 w 378"/>
                    <a:gd name="T1" fmla="*/ 534 h 534"/>
                    <a:gd name="T2" fmla="*/ 378 w 378"/>
                    <a:gd name="T3" fmla="*/ 139 h 534"/>
                    <a:gd name="T4" fmla="*/ 298 w 378"/>
                    <a:gd name="T5" fmla="*/ 0 h 534"/>
                    <a:gd name="T6" fmla="*/ 0 w 378"/>
                    <a:gd name="T7" fmla="*/ 534 h 534"/>
                    <a:gd name="T8" fmla="*/ 160 w 378"/>
                    <a:gd name="T9" fmla="*/ 534 h 534"/>
                  </a:gdLst>
                  <a:ahLst/>
                  <a:cxnLst>
                    <a:cxn ang="0">
                      <a:pos x="T0" y="T1"/>
                    </a:cxn>
                    <a:cxn ang="0">
                      <a:pos x="T2" y="T3"/>
                    </a:cxn>
                    <a:cxn ang="0">
                      <a:pos x="T4" y="T5"/>
                    </a:cxn>
                    <a:cxn ang="0">
                      <a:pos x="T6" y="T7"/>
                    </a:cxn>
                    <a:cxn ang="0">
                      <a:pos x="T8" y="T9"/>
                    </a:cxn>
                  </a:cxnLst>
                  <a:rect l="0" t="0" r="r" b="b"/>
                  <a:pathLst>
                    <a:path w="378" h="534">
                      <a:moveTo>
                        <a:pt x="160" y="534"/>
                      </a:moveTo>
                      <a:cubicBezTo>
                        <a:pt x="160" y="367"/>
                        <a:pt x="247" y="221"/>
                        <a:pt x="378" y="139"/>
                      </a:cubicBezTo>
                      <a:cubicBezTo>
                        <a:pt x="298" y="0"/>
                        <a:pt x="298" y="0"/>
                        <a:pt x="298" y="0"/>
                      </a:cubicBezTo>
                      <a:cubicBezTo>
                        <a:pt x="119" y="111"/>
                        <a:pt x="0" y="308"/>
                        <a:pt x="0" y="534"/>
                      </a:cubicBezTo>
                      <a:lnTo>
                        <a:pt x="160" y="534"/>
                      </a:ln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69" name="Freeform 12">
                  <a:extLst>
                    <a:ext uri="{FF2B5EF4-FFF2-40B4-BE49-F238E27FC236}">
                      <a16:creationId xmlns:a16="http://schemas.microsoft.com/office/drawing/2014/main" id="{D3559B37-DF1C-4487-95D4-0C81310EC1FD}"/>
                    </a:ext>
                  </a:extLst>
                </p:cNvPr>
                <p:cNvSpPr>
                  <a:spLocks/>
                </p:cNvSpPr>
                <p:nvPr/>
              </p:nvSpPr>
              <p:spPr bwMode="auto">
                <a:xfrm>
                  <a:off x="645883" y="1425917"/>
                  <a:ext cx="388514" cy="140878"/>
                </a:xfrm>
                <a:custGeom>
                  <a:avLst/>
                  <a:gdLst>
                    <a:gd name="T0" fmla="*/ 80 w 596"/>
                    <a:gd name="T1" fmla="*/ 214 h 214"/>
                    <a:gd name="T2" fmla="*/ 298 w 596"/>
                    <a:gd name="T3" fmla="*/ 160 h 214"/>
                    <a:gd name="T4" fmla="*/ 516 w 596"/>
                    <a:gd name="T5" fmla="*/ 214 h 214"/>
                    <a:gd name="T6" fmla="*/ 596 w 596"/>
                    <a:gd name="T7" fmla="*/ 75 h 214"/>
                    <a:gd name="T8" fmla="*/ 298 w 596"/>
                    <a:gd name="T9" fmla="*/ 0 h 214"/>
                    <a:gd name="T10" fmla="*/ 0 w 596"/>
                    <a:gd name="T11" fmla="*/ 75 h 214"/>
                    <a:gd name="T12" fmla="*/ 80 w 596"/>
                    <a:gd name="T13" fmla="*/ 214 h 214"/>
                  </a:gdLst>
                  <a:ahLst/>
                  <a:cxnLst>
                    <a:cxn ang="0">
                      <a:pos x="T0" y="T1"/>
                    </a:cxn>
                    <a:cxn ang="0">
                      <a:pos x="T2" y="T3"/>
                    </a:cxn>
                    <a:cxn ang="0">
                      <a:pos x="T4" y="T5"/>
                    </a:cxn>
                    <a:cxn ang="0">
                      <a:pos x="T6" y="T7"/>
                    </a:cxn>
                    <a:cxn ang="0">
                      <a:pos x="T8" y="T9"/>
                    </a:cxn>
                    <a:cxn ang="0">
                      <a:pos x="T10" y="T11"/>
                    </a:cxn>
                    <a:cxn ang="0">
                      <a:pos x="T12" y="T13"/>
                    </a:cxn>
                  </a:cxnLst>
                  <a:rect l="0" t="0" r="r" b="b"/>
                  <a:pathLst>
                    <a:path w="596" h="214">
                      <a:moveTo>
                        <a:pt x="80" y="214"/>
                      </a:moveTo>
                      <a:cubicBezTo>
                        <a:pt x="145" y="179"/>
                        <a:pt x="219" y="160"/>
                        <a:pt x="298" y="160"/>
                      </a:cubicBezTo>
                      <a:cubicBezTo>
                        <a:pt x="377" y="160"/>
                        <a:pt x="451" y="179"/>
                        <a:pt x="516" y="214"/>
                      </a:cubicBezTo>
                      <a:cubicBezTo>
                        <a:pt x="596" y="75"/>
                        <a:pt x="596" y="75"/>
                        <a:pt x="596" y="75"/>
                      </a:cubicBezTo>
                      <a:cubicBezTo>
                        <a:pt x="507" y="27"/>
                        <a:pt x="406" y="0"/>
                        <a:pt x="298" y="0"/>
                      </a:cubicBezTo>
                      <a:cubicBezTo>
                        <a:pt x="190" y="0"/>
                        <a:pt x="89" y="27"/>
                        <a:pt x="0" y="75"/>
                      </a:cubicBezTo>
                      <a:lnTo>
                        <a:pt x="80" y="214"/>
                      </a:ln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70" name="Freeform 13">
                  <a:extLst>
                    <a:ext uri="{FF2B5EF4-FFF2-40B4-BE49-F238E27FC236}">
                      <a16:creationId xmlns:a16="http://schemas.microsoft.com/office/drawing/2014/main" id="{B60BCC89-52B3-E713-F3D1-42036DA06CDA}"/>
                    </a:ext>
                  </a:extLst>
                </p:cNvPr>
                <p:cNvSpPr>
                  <a:spLocks/>
                </p:cNvSpPr>
                <p:nvPr/>
              </p:nvSpPr>
              <p:spPr bwMode="auto">
                <a:xfrm>
                  <a:off x="1002479" y="1487276"/>
                  <a:ext cx="246261" cy="351093"/>
                </a:xfrm>
                <a:custGeom>
                  <a:avLst/>
                  <a:gdLst>
                    <a:gd name="T0" fmla="*/ 80 w 378"/>
                    <a:gd name="T1" fmla="*/ 0 h 534"/>
                    <a:gd name="T2" fmla="*/ 0 w 378"/>
                    <a:gd name="T3" fmla="*/ 139 h 534"/>
                    <a:gd name="T4" fmla="*/ 218 w 378"/>
                    <a:gd name="T5" fmla="*/ 534 h 534"/>
                    <a:gd name="T6" fmla="*/ 378 w 378"/>
                    <a:gd name="T7" fmla="*/ 534 h 534"/>
                    <a:gd name="T8" fmla="*/ 80 w 378"/>
                    <a:gd name="T9" fmla="*/ 0 h 534"/>
                  </a:gdLst>
                  <a:ahLst/>
                  <a:cxnLst>
                    <a:cxn ang="0">
                      <a:pos x="T0" y="T1"/>
                    </a:cxn>
                    <a:cxn ang="0">
                      <a:pos x="T2" y="T3"/>
                    </a:cxn>
                    <a:cxn ang="0">
                      <a:pos x="T4" y="T5"/>
                    </a:cxn>
                    <a:cxn ang="0">
                      <a:pos x="T6" y="T7"/>
                    </a:cxn>
                    <a:cxn ang="0">
                      <a:pos x="T8" y="T9"/>
                    </a:cxn>
                  </a:cxnLst>
                  <a:rect l="0" t="0" r="r" b="b"/>
                  <a:pathLst>
                    <a:path w="378" h="534">
                      <a:moveTo>
                        <a:pt x="80" y="0"/>
                      </a:moveTo>
                      <a:cubicBezTo>
                        <a:pt x="0" y="139"/>
                        <a:pt x="0" y="139"/>
                        <a:pt x="0" y="139"/>
                      </a:cubicBezTo>
                      <a:cubicBezTo>
                        <a:pt x="131" y="221"/>
                        <a:pt x="218" y="367"/>
                        <a:pt x="218" y="534"/>
                      </a:cubicBezTo>
                      <a:cubicBezTo>
                        <a:pt x="378" y="534"/>
                        <a:pt x="378" y="534"/>
                        <a:pt x="378" y="534"/>
                      </a:cubicBezTo>
                      <a:cubicBezTo>
                        <a:pt x="378" y="308"/>
                        <a:pt x="259" y="111"/>
                        <a:pt x="80" y="0"/>
                      </a:cubicBezTo>
                      <a:close/>
                    </a:path>
                  </a:pathLst>
                </a:custGeom>
                <a:solidFill>
                  <a:schemeClr val="tx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sp>
              <p:nvSpPr>
                <p:cNvPr id="71" name="Freihandform: Form 363">
                  <a:extLst>
                    <a:ext uri="{FF2B5EF4-FFF2-40B4-BE49-F238E27FC236}">
                      <a16:creationId xmlns:a16="http://schemas.microsoft.com/office/drawing/2014/main" id="{1393BBB4-A81C-098D-6CF8-8A2FF16CAF25}"/>
                    </a:ext>
                  </a:extLst>
                </p:cNvPr>
                <p:cNvSpPr>
                  <a:spLocks/>
                </p:cNvSpPr>
                <p:nvPr/>
              </p:nvSpPr>
              <p:spPr bwMode="auto">
                <a:xfrm>
                  <a:off x="556734" y="1552212"/>
                  <a:ext cx="566812" cy="286157"/>
                </a:xfrm>
                <a:custGeom>
                  <a:avLst/>
                  <a:gdLst>
                    <a:gd name="connsiteX0" fmla="*/ 283406 w 566812"/>
                    <a:gd name="connsiteY0" fmla="*/ 0 h 286157"/>
                    <a:gd name="connsiteX1" fmla="*/ 566812 w 566812"/>
                    <a:gd name="connsiteY1" fmla="*/ 286157 h 286157"/>
                    <a:gd name="connsiteX2" fmla="*/ 506571 w 566812"/>
                    <a:gd name="connsiteY2" fmla="*/ 286157 h 286157"/>
                    <a:gd name="connsiteX3" fmla="*/ 283406 w 566812"/>
                    <a:gd name="connsiteY3" fmla="*/ 60826 h 286157"/>
                    <a:gd name="connsiteX4" fmla="*/ 60241 w 566812"/>
                    <a:gd name="connsiteY4" fmla="*/ 286157 h 286157"/>
                    <a:gd name="connsiteX5" fmla="*/ 0 w 566812"/>
                    <a:gd name="connsiteY5" fmla="*/ 286157 h 286157"/>
                    <a:gd name="connsiteX6" fmla="*/ 283406 w 566812"/>
                    <a:gd name="connsiteY6" fmla="*/ 0 h 28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812" h="286157">
                      <a:moveTo>
                        <a:pt x="283406" y="0"/>
                      </a:moveTo>
                      <a:cubicBezTo>
                        <a:pt x="439768" y="0"/>
                        <a:pt x="566812" y="128277"/>
                        <a:pt x="566812" y="286157"/>
                      </a:cubicBezTo>
                      <a:lnTo>
                        <a:pt x="506571" y="286157"/>
                      </a:lnTo>
                      <a:cubicBezTo>
                        <a:pt x="506571" y="161837"/>
                        <a:pt x="406532" y="60826"/>
                        <a:pt x="283406" y="60826"/>
                      </a:cubicBezTo>
                      <a:cubicBezTo>
                        <a:pt x="160281" y="60826"/>
                        <a:pt x="60241" y="161837"/>
                        <a:pt x="60241" y="286157"/>
                      </a:cubicBezTo>
                      <a:lnTo>
                        <a:pt x="0" y="286157"/>
                      </a:lnTo>
                      <a:cubicBezTo>
                        <a:pt x="0" y="128277"/>
                        <a:pt x="127044" y="0"/>
                        <a:pt x="283406" y="0"/>
                      </a:cubicBezTo>
                      <a:close/>
                    </a:path>
                  </a:pathLst>
                </a:custGeom>
                <a:solidFill>
                  <a:srgbClr val="B7C5C8"/>
                </a:solidFill>
                <a:ln w="142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dirty="0">
                    <a:ln>
                      <a:noFill/>
                    </a:ln>
                    <a:solidFill>
                      <a:schemeClr val="bg2"/>
                    </a:solidFill>
                    <a:effectLst/>
                    <a:uLnTx/>
                    <a:uFillTx/>
                    <a:latin typeface="DWS Sans" panose="02010504010101010104" pitchFamily="50" charset="0"/>
                    <a:cs typeface="DWS Sans" panose="02010504010101010104" pitchFamily="50" charset="0"/>
                  </a:endParaRPr>
                </a:p>
              </p:txBody>
            </p:sp>
          </p:grpSp>
        </p:grpSp>
        <p:grpSp>
          <p:nvGrpSpPr>
            <p:cNvPr id="60" name="Group 425">
              <a:extLst>
                <a:ext uri="{FF2B5EF4-FFF2-40B4-BE49-F238E27FC236}">
                  <a16:creationId xmlns:a16="http://schemas.microsoft.com/office/drawing/2014/main" id="{E88C482A-A82B-C46A-533A-28D4A299E32A}"/>
                </a:ext>
              </a:extLst>
            </p:cNvPr>
            <p:cNvGrpSpPr/>
            <p:nvPr/>
          </p:nvGrpSpPr>
          <p:grpSpPr>
            <a:xfrm>
              <a:off x="3852639" y="2316639"/>
              <a:ext cx="547200" cy="165603"/>
              <a:chOff x="612278" y="3651542"/>
              <a:chExt cx="662384" cy="206010"/>
            </a:xfrm>
          </p:grpSpPr>
          <p:sp>
            <p:nvSpPr>
              <p:cNvPr id="61" name="Rechteck 273">
                <a:extLst>
                  <a:ext uri="{FF2B5EF4-FFF2-40B4-BE49-F238E27FC236}">
                    <a16:creationId xmlns:a16="http://schemas.microsoft.com/office/drawing/2014/main" id="{AA431939-A80C-9BDC-ADC8-4DDB7FAF3FAC}"/>
                  </a:ext>
                </a:extLst>
              </p:cNvPr>
              <p:cNvSpPr/>
              <p:nvPr/>
            </p:nvSpPr>
            <p:spPr>
              <a:xfrm>
                <a:off x="612278" y="3747217"/>
                <a:ext cx="662013" cy="1103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bg1"/>
                  </a:buClr>
                </a:pPr>
                <a:endParaRPr lang="en-GB" sz="700" dirty="0">
                  <a:solidFill>
                    <a:schemeClr val="bg2"/>
                  </a:solidFill>
                  <a:latin typeface="DWS Sans Light" panose="02010404010101010104" pitchFamily="50" charset="0"/>
                  <a:cs typeface="DWS Sans Light" panose="02010404010101010104" pitchFamily="50" charset="0"/>
                </a:endParaRPr>
              </a:p>
            </p:txBody>
          </p:sp>
          <p:sp>
            <p:nvSpPr>
              <p:cNvPr id="62" name="Rectangle 428">
                <a:extLst>
                  <a:ext uri="{FF2B5EF4-FFF2-40B4-BE49-F238E27FC236}">
                    <a16:creationId xmlns:a16="http://schemas.microsoft.com/office/drawing/2014/main" id="{936ECF68-D3ED-7A3B-83E9-7BD407E332A5}"/>
                  </a:ext>
                </a:extLst>
              </p:cNvPr>
              <p:cNvSpPr/>
              <p:nvPr/>
            </p:nvSpPr>
            <p:spPr bwMode="auto">
              <a:xfrm>
                <a:off x="612278" y="3651542"/>
                <a:ext cx="205200" cy="84035"/>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sp>
            <p:nvSpPr>
              <p:cNvPr id="63" name="Rectangle 429">
                <a:extLst>
                  <a:ext uri="{FF2B5EF4-FFF2-40B4-BE49-F238E27FC236}">
                    <a16:creationId xmlns:a16="http://schemas.microsoft.com/office/drawing/2014/main" id="{40FCA465-0D65-E089-5992-6BD2B6A6E2F7}"/>
                  </a:ext>
                </a:extLst>
              </p:cNvPr>
              <p:cNvSpPr/>
              <p:nvPr/>
            </p:nvSpPr>
            <p:spPr bwMode="auto">
              <a:xfrm>
                <a:off x="1069462" y="3651542"/>
                <a:ext cx="205200" cy="84035"/>
              </a:xfrm>
              <a:prstGeom prst="rect">
                <a:avLst/>
              </a:prstGeom>
              <a:solidFill>
                <a:schemeClr val="tx2"/>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sp>
            <p:nvSpPr>
              <p:cNvPr id="64" name="Rectangle 430">
                <a:extLst>
                  <a:ext uri="{FF2B5EF4-FFF2-40B4-BE49-F238E27FC236}">
                    <a16:creationId xmlns:a16="http://schemas.microsoft.com/office/drawing/2014/main" id="{35F31D05-3F7A-CDAE-BAC9-EF8948149879}"/>
                  </a:ext>
                </a:extLst>
              </p:cNvPr>
              <p:cNvSpPr/>
              <p:nvPr/>
            </p:nvSpPr>
            <p:spPr bwMode="auto">
              <a:xfrm>
                <a:off x="840869" y="3651542"/>
                <a:ext cx="205200" cy="84035"/>
              </a:xfrm>
              <a:prstGeom prst="rect">
                <a:avLst/>
              </a:prstGeom>
              <a:solidFill>
                <a:srgbClr val="B7C5C8"/>
              </a:solidFill>
              <a:ln w="6350">
                <a:noFill/>
                <a:miter lim="800000"/>
                <a:headEnd/>
                <a:tailEnd/>
              </a:ln>
            </p:spPr>
            <p:txBody>
              <a:bodyPr lIns="108000" tIns="72000" rIns="108000" bIns="72000" rtlCol="0" anchor="t">
                <a:noAutofit/>
              </a:bodyPr>
              <a:lstStyle/>
              <a:p>
                <a:pPr marL="90000" indent="-90000" algn="l" defTabSz="963613" eaLnBrk="0" hangingPunct="0">
                  <a:lnSpc>
                    <a:spcPct val="106000"/>
                  </a:lnSpc>
                  <a:spcBef>
                    <a:spcPts val="200"/>
                  </a:spcBef>
                  <a:buClrTx/>
                  <a:buFont typeface="Arial" panose="020B0604020202020204" pitchFamily="34" charset="0"/>
                  <a:buChar char="_"/>
                  <a:tabLst>
                    <a:tab pos="1257300" algn="l"/>
                  </a:tabLst>
                </a:pPr>
                <a:endParaRPr lang="en-ZA" sz="700" dirty="0">
                  <a:latin typeface="DWS Sans" panose="02010504010101010104" pitchFamily="50" charset="0"/>
                  <a:cs typeface="DWS Sans" panose="02010504010101010104" pitchFamily="50" charset="0"/>
                </a:endParaRPr>
              </a:p>
            </p:txBody>
          </p:sp>
        </p:grpSp>
      </p:grpSp>
      <p:sp>
        <p:nvSpPr>
          <p:cNvPr id="82" name="Rectangle 2">
            <a:extLst>
              <a:ext uri="{FF2B5EF4-FFF2-40B4-BE49-F238E27FC236}">
                <a16:creationId xmlns:a16="http://schemas.microsoft.com/office/drawing/2014/main" id="{14C5640A-AEA5-6C29-798B-2D96CB70EBA7}"/>
              </a:ext>
            </a:extLst>
          </p:cNvPr>
          <p:cNvSpPr>
            <a:spLocks noChangeArrowheads="1"/>
          </p:cNvSpPr>
          <p:nvPr/>
        </p:nvSpPr>
        <p:spPr bwMode="auto">
          <a:xfrm>
            <a:off x="0" y="0"/>
            <a:ext cx="7561263"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it-IT"/>
          </a:p>
        </p:txBody>
      </p:sp>
      <p:sp>
        <p:nvSpPr>
          <p:cNvPr id="83" name="Rettangolo 82" descr="unitplus">
            <a:extLst>
              <a:ext uri="{FF2B5EF4-FFF2-40B4-BE49-F238E27FC236}">
                <a16:creationId xmlns:a16="http://schemas.microsoft.com/office/drawing/2014/main" id="{06C04F2C-7F07-FB41-F84F-7856EB5D3635}"/>
              </a:ext>
            </a:extLst>
          </p:cNvPr>
          <p:cNvSpPr>
            <a:spLocks noChangeAspect="1" noChangeArrowheads="1"/>
          </p:cNvSpPr>
          <p:nvPr/>
        </p:nvSpPr>
        <p:spPr bwMode="auto">
          <a:xfrm>
            <a:off x="0" y="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endParaRPr lang="it-IT"/>
          </a:p>
        </p:txBody>
      </p:sp>
      <p:sp>
        <p:nvSpPr>
          <p:cNvPr id="85" name="Rectangle 5">
            <a:extLst>
              <a:ext uri="{FF2B5EF4-FFF2-40B4-BE49-F238E27FC236}">
                <a16:creationId xmlns:a16="http://schemas.microsoft.com/office/drawing/2014/main" id="{B0675492-BE40-5A7C-CE8E-8F9E8C1D783A}"/>
              </a:ext>
            </a:extLst>
          </p:cNvPr>
          <p:cNvSpPr>
            <a:spLocks noChangeArrowheads="1"/>
          </p:cNvSpPr>
          <p:nvPr/>
        </p:nvSpPr>
        <p:spPr bwMode="auto">
          <a:xfrm>
            <a:off x="152400" y="152400"/>
            <a:ext cx="7561263"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it-IT"/>
          </a:p>
        </p:txBody>
      </p:sp>
      <p:sp>
        <p:nvSpPr>
          <p:cNvPr id="86" name="Rettangolo 85" descr="unitplus">
            <a:extLst>
              <a:ext uri="{FF2B5EF4-FFF2-40B4-BE49-F238E27FC236}">
                <a16:creationId xmlns:a16="http://schemas.microsoft.com/office/drawing/2014/main" id="{7F196BA1-C31D-70DB-9646-08F7659EC4B6}"/>
              </a:ext>
            </a:extLst>
          </p:cNvPr>
          <p:cNvSpPr>
            <a:spLocks noChangeAspect="1" noChangeArrowheads="1"/>
          </p:cNvSpPr>
          <p:nvPr/>
        </p:nvSpPr>
        <p:spPr bwMode="auto">
          <a:xfrm>
            <a:off x="152400" y="1524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endParaRPr lang="it-IT"/>
          </a:p>
        </p:txBody>
      </p:sp>
      <p:sp>
        <p:nvSpPr>
          <p:cNvPr id="2" name="Rechteck 273">
            <a:extLst>
              <a:ext uri="{FF2B5EF4-FFF2-40B4-BE49-F238E27FC236}">
                <a16:creationId xmlns:a16="http://schemas.microsoft.com/office/drawing/2014/main" id="{BE6F8652-0DA0-46E1-D5BC-C87AB8477597}"/>
              </a:ext>
            </a:extLst>
          </p:cNvPr>
          <p:cNvSpPr/>
          <p:nvPr/>
        </p:nvSpPr>
        <p:spPr>
          <a:xfrm>
            <a:off x="512376" y="5562124"/>
            <a:ext cx="723900" cy="156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bg1"/>
              </a:buClr>
            </a:pPr>
            <a:r>
              <a:rPr lang="en-GB" sz="700" dirty="0" err="1">
                <a:solidFill>
                  <a:schemeClr val="bg2"/>
                </a:solidFill>
                <a:latin typeface="DWS Sans Light" panose="02010404010101010104" pitchFamily="50" charset="0"/>
                <a:cs typeface="DWS Sans Light" panose="02010404010101010104" pitchFamily="50" charset="0"/>
              </a:rPr>
              <a:t>lungo</a:t>
            </a:r>
            <a:r>
              <a:rPr lang="en-GB" sz="700" dirty="0">
                <a:solidFill>
                  <a:schemeClr val="bg2"/>
                </a:solidFill>
                <a:latin typeface="DWS Sans Light" panose="02010404010101010104" pitchFamily="50" charset="0"/>
                <a:cs typeface="DWS Sans Light" panose="02010404010101010104" pitchFamily="50" charset="0"/>
              </a:rPr>
              <a:t> </a:t>
            </a:r>
            <a:r>
              <a:rPr lang="en-GB" sz="700" dirty="0" err="1">
                <a:solidFill>
                  <a:schemeClr val="bg2"/>
                </a:solidFill>
                <a:latin typeface="DWS Sans Light" panose="02010404010101010104" pitchFamily="50" charset="0"/>
                <a:cs typeface="DWS Sans Light" panose="02010404010101010104" pitchFamily="50" charset="0"/>
              </a:rPr>
              <a:t>termine</a:t>
            </a:r>
            <a:endParaRPr lang="en-GB" sz="700" dirty="0">
              <a:solidFill>
                <a:schemeClr val="bg2"/>
              </a:solidFill>
              <a:latin typeface="DWS Sans Light" panose="02010404010101010104" pitchFamily="50" charset="0"/>
              <a:cs typeface="DWS Sans Light" panose="02010404010101010104" pitchFamily="50" charset="0"/>
            </a:endParaRPr>
          </a:p>
        </p:txBody>
      </p:sp>
    </p:spTree>
    <p:extLst>
      <p:ext uri="{BB962C8B-B14F-4D97-AF65-F5344CB8AC3E}">
        <p14:creationId xmlns:p14="http://schemas.microsoft.com/office/powerpoint/2010/main" val="15849789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v1m_tnnx5uXlqc7Z7N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v1m_tnnx5uXlqc7Z7N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v1m_tnnx5uXlqc7Z7N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v1m_tnnx5uXlqc7Z7Nh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v1m_tnnx5uXlqc7Z7N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v1m_tnnx5uXlqc7Z7N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U87lW8kZbmDUON4vzhti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v1m_tnnx5uXlqc7Z7Nh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v1m_tnnx5uXlqc7Z7Nh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v1m_tnnx5uXlqc7Z7NhQ"/>
</p:tagLst>
</file>

<file path=ppt/theme/theme1.xml><?xml version="1.0" encoding="utf-8"?>
<a:theme xmlns:a="http://schemas.openxmlformats.org/drawingml/2006/main" name="DWS_Reports_Template_A4">
  <a:themeElements>
    <a:clrScheme name="DWS Farben">
      <a:dk1>
        <a:srgbClr val="000000"/>
      </a:dk1>
      <a:lt1>
        <a:srgbClr val="FFFFFF"/>
      </a:lt1>
      <a:dk2>
        <a:srgbClr val="D7D2CB"/>
      </a:dk2>
      <a:lt2>
        <a:srgbClr val="AFCA0B"/>
      </a:lt2>
      <a:accent1>
        <a:srgbClr val="00486B"/>
      </a:accent1>
      <a:accent2>
        <a:srgbClr val="009DA2"/>
      </a:accent2>
      <a:accent3>
        <a:srgbClr val="6D8286"/>
      </a:accent3>
      <a:accent4>
        <a:srgbClr val="AEA399"/>
      </a:accent4>
      <a:accent5>
        <a:srgbClr val="00542E"/>
      </a:accent5>
      <a:accent6>
        <a:srgbClr val="0073AA"/>
      </a:accent6>
      <a:hlink>
        <a:srgbClr val="000000"/>
      </a:hlink>
      <a:folHlink>
        <a:srgbClr val="193296"/>
      </a:folHlink>
    </a:clrScheme>
    <a:fontScheme name="DB Screenshow">
      <a:majorFont>
        <a:latin typeface="Arial"/>
        <a:ea typeface="MS PGothic"/>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w="6350">
          <a:noFill/>
          <a:miter lim="800000"/>
          <a:headEnd/>
          <a:tailEnd/>
        </a:ln>
      </a:spPr>
      <a:bodyPr lIns="0" tIns="54000" rIns="0" bIns="72000" rtlCol="0" anchor="ctr" anchorCtr="0">
        <a:noAutofit/>
      </a:bodyPr>
      <a:lstStyle>
        <a:defPPr algn="ctr" defTabSz="963613" eaLnBrk="0" hangingPunct="0">
          <a:lnSpc>
            <a:spcPct val="106000"/>
          </a:lnSpc>
          <a:spcBef>
            <a:spcPts val="200"/>
          </a:spcBef>
          <a:tabLst>
            <a:tab pos="1257300" algn="l"/>
          </a:tabLst>
          <a:defRPr sz="600" dirty="0" smtClean="0">
            <a:solidFill>
              <a:schemeClr val="bg2"/>
            </a:solidFill>
            <a:latin typeface="DWS Sans Light" panose="02010404010101010104" pitchFamily="50" charset="0"/>
            <a:cs typeface="DWS Sans Light" panose="02010404010101010104" pitchFamily="50" charset="0"/>
          </a:defRPr>
        </a:defPPr>
      </a:lstStyle>
    </a:spDef>
    <a:lnDef>
      <a:spPr bwMode="auto">
        <a:noFill/>
        <a:ln w="6350">
          <a:solidFill>
            <a:schemeClr val="accent1"/>
          </a:solidFill>
          <a:round/>
          <a:headEnd/>
          <a:tailEnd/>
        </a:ln>
      </a:spPr>
      <a:bodyPr/>
      <a:lstStyle/>
    </a:lnDef>
    <a:txDef>
      <a:spPr bwMode="gray"/>
      <a:bodyPr vert="horz" wrap="square" lIns="0" tIns="0" rIns="0" bIns="0" rtlCol="0">
        <a:spAutoFit/>
      </a:bodyPr>
      <a:lstStyle>
        <a:defPPr algn="l">
          <a:spcBef>
            <a:spcPts val="300"/>
          </a:spcBef>
          <a:buClr>
            <a:schemeClr val="bg2"/>
          </a:buClr>
          <a:buFont typeface="DWS Sans" panose="02010504010101010104" pitchFamily="50" charset="0"/>
          <a:buChar char="—"/>
          <a:defRPr dirty="0"/>
        </a:defPPr>
      </a:lstStyle>
    </a:txDef>
  </a:objectDefaults>
  <a:extraClrSchemeLst/>
  <a:custClrLst>
    <a:custClr>
      <a:srgbClr val="FFFFFF"/>
    </a:custClr>
    <a:custClr>
      <a:srgbClr val="E40134"/>
    </a:custClr>
    <a:custClr>
      <a:srgbClr val="304849"/>
    </a:custClr>
    <a:custClr>
      <a:srgbClr val="857871"/>
    </a:custClr>
    <a:custClr>
      <a:srgbClr val="EE7203"/>
    </a:custClr>
    <a:custClr>
      <a:srgbClr val="46962B"/>
    </a:custClr>
    <a:custClr>
      <a:srgbClr val="00A4D9"/>
    </a:custClr>
    <a:custClr>
      <a:srgbClr val="B7C5C8"/>
    </a:custClr>
    <a:custClr>
      <a:srgbClr val="9F387C"/>
    </a:custClr>
    <a:custClr>
      <a:srgbClr val="A7B5B7"/>
    </a:custClr>
  </a:custClrLst>
  <a:extLst>
    <a:ext uri="{05A4C25C-085E-4340-85A3-A5531E510DB2}">
      <thm15:themeFamily xmlns:thm15="http://schemas.microsoft.com/office/thememl/2012/main" name="Marktausblick_Template_DINA4.potx" id="{CC34AE25-C9C2-44E3-8872-A47305264222}" vid="{8C6DEFC3-15DE-4977-BD3D-5189FAB24595}"/>
    </a:ext>
  </a:extLst>
</a:theme>
</file>

<file path=ppt/theme/theme2.xml><?xml version="1.0" encoding="utf-8"?>
<a:theme xmlns:a="http://schemas.openxmlformats.org/drawingml/2006/main" name="Larissa-Design">
  <a:themeElements>
    <a:clrScheme name="DAWM_01">
      <a:dk1>
        <a:srgbClr val="E0E6E6"/>
      </a:dk1>
      <a:lt1>
        <a:srgbClr val="000000"/>
      </a:lt1>
      <a:dk2>
        <a:srgbClr val="FFFFFF"/>
      </a:dk2>
      <a:lt2>
        <a:srgbClr val="8996A0"/>
      </a:lt2>
      <a:accent1>
        <a:srgbClr val="002244"/>
      </a:accent1>
      <a:accent2>
        <a:srgbClr val="396391"/>
      </a:accent2>
      <a:accent3>
        <a:srgbClr val="FFA100"/>
      </a:accent3>
      <a:accent4>
        <a:srgbClr val="E00034"/>
      </a:accent4>
      <a:accent5>
        <a:srgbClr val="637F47"/>
      </a:accent5>
      <a:accent6>
        <a:srgbClr val="988F86"/>
      </a:accent6>
      <a:hlink>
        <a:srgbClr val="000000"/>
      </a:hlink>
      <a:folHlink>
        <a:srgbClr val="193296"/>
      </a:folHlink>
    </a:clrScheme>
    <a:fontScheme name="Benutzerdefiniert 14">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DAWM_01">
      <a:dk1>
        <a:srgbClr val="E0E6E6"/>
      </a:dk1>
      <a:lt1>
        <a:srgbClr val="000000"/>
      </a:lt1>
      <a:dk2>
        <a:srgbClr val="FFFFFF"/>
      </a:dk2>
      <a:lt2>
        <a:srgbClr val="8996A0"/>
      </a:lt2>
      <a:accent1>
        <a:srgbClr val="002244"/>
      </a:accent1>
      <a:accent2>
        <a:srgbClr val="396391"/>
      </a:accent2>
      <a:accent3>
        <a:srgbClr val="FFA100"/>
      </a:accent3>
      <a:accent4>
        <a:srgbClr val="E00034"/>
      </a:accent4>
      <a:accent5>
        <a:srgbClr val="637F47"/>
      </a:accent5>
      <a:accent6>
        <a:srgbClr val="988F86"/>
      </a:accent6>
      <a:hlink>
        <a:srgbClr val="000000"/>
      </a:hlink>
      <a:folHlink>
        <a:srgbClr val="193296"/>
      </a:folHlink>
    </a:clrScheme>
    <a:fontScheme name="XY">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d42bf693-aefc-4a3c-91b4-fdd3275802f5" xsi:nil="true"/>
    <lcf76f155ced4ddcb4097134ff3c332f xmlns="561301ce-8039-49bb-a73f-89adf32ad8c0">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6037770A0FF7B64AB7BD98B5E907E2D2" ma:contentTypeVersion="13" ma:contentTypeDescription="Ein neues Dokument erstellen." ma:contentTypeScope="" ma:versionID="4d5ef5d1f9086bc41a379d215ef2644f">
  <xsd:schema xmlns:xsd="http://www.w3.org/2001/XMLSchema" xmlns:xs="http://www.w3.org/2001/XMLSchema" xmlns:p="http://schemas.microsoft.com/office/2006/metadata/properties" xmlns:ns2="561301ce-8039-49bb-a73f-89adf32ad8c0" xmlns:ns3="d42bf693-aefc-4a3c-91b4-fdd3275802f5" targetNamespace="http://schemas.microsoft.com/office/2006/metadata/properties" ma:root="true" ma:fieldsID="581083a489310b16f0a6ec0bdfa6e907" ns2:_="" ns3:_="">
    <xsd:import namespace="561301ce-8039-49bb-a73f-89adf32ad8c0"/>
    <xsd:import namespace="d42bf693-aefc-4a3c-91b4-fdd3275802f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61301ce-8039-49bb-a73f-89adf32ad8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6fc7666e-d55c-42e6-98c7-52deeb412aec"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42bf693-aefc-4a3c-91b4-fdd3275802f5" elementFormDefault="qualified">
    <xsd:import namespace="http://schemas.microsoft.com/office/2006/documentManagement/types"/>
    <xsd:import namespace="http://schemas.microsoft.com/office/infopath/2007/PartnerControls"/>
    <xsd:element name="SharedWithUsers" ma:index="12"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Freigegeben für - Details" ma:internalName="SharedWithDetails" ma:readOnly="true">
      <xsd:simpleType>
        <xsd:restriction base="dms:Note">
          <xsd:maxLength value="255"/>
        </xsd:restriction>
      </xsd:simpleType>
    </xsd:element>
    <xsd:element name="TaxCatchAll" ma:index="16" nillable="true" ma:displayName="Taxonomy Catch All Column" ma:hidden="true" ma:list="{1de42bfb-665d-4482-af90-b521173e019d}" ma:internalName="TaxCatchAll" ma:showField="CatchAllData" ma:web="d42bf693-aefc-4a3c-91b4-fdd3275802f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1D8E236-347F-4406-9668-1B847E1BAF74}">
  <ds:schemaRefs>
    <ds:schemaRef ds:uri="http://schemas.microsoft.com/sharepoint/v3/contenttype/forms"/>
  </ds:schemaRefs>
</ds:datastoreItem>
</file>

<file path=customXml/itemProps2.xml><?xml version="1.0" encoding="utf-8"?>
<ds:datastoreItem xmlns:ds="http://schemas.openxmlformats.org/officeDocument/2006/customXml" ds:itemID="{545E02D2-8A3D-4630-9153-5E5AAD6B995F}">
  <ds:schemaRefs>
    <ds:schemaRef ds:uri="http://purl.org/dc/terms/"/>
    <ds:schemaRef ds:uri="http://schemas.microsoft.com/office/2006/documentManagement/types"/>
    <ds:schemaRef ds:uri="http://schemas.microsoft.com/office/2006/metadata/properties"/>
    <ds:schemaRef ds:uri="http://schemas.microsoft.com/office/infopath/2007/PartnerControls"/>
    <ds:schemaRef ds:uri="561301ce-8039-49bb-a73f-89adf32ad8c0"/>
    <ds:schemaRef ds:uri="http://www.w3.org/XML/1998/namespace"/>
    <ds:schemaRef ds:uri="http://purl.org/dc/elements/1.1/"/>
    <ds:schemaRef ds:uri="http://schemas.openxmlformats.org/package/2006/metadata/core-properties"/>
    <ds:schemaRef ds:uri="d42bf693-aefc-4a3c-91b4-fdd3275802f5"/>
    <ds:schemaRef ds:uri="http://purl.org/dc/dcmitype/"/>
  </ds:schemaRefs>
</ds:datastoreItem>
</file>

<file path=customXml/itemProps3.xml><?xml version="1.0" encoding="utf-8"?>
<ds:datastoreItem xmlns:ds="http://schemas.openxmlformats.org/officeDocument/2006/customXml" ds:itemID="{68F9AE24-1929-40F1-B2EE-B0AAF998EF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61301ce-8039-49bb-a73f-89adf32ad8c0"/>
    <ds:schemaRef ds:uri="d42bf693-aefc-4a3c-91b4-fdd3275802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arktausblick_Template_DINA4</Template>
  <TotalTime>0</TotalTime>
  <Words>3121</Words>
  <Application>Microsoft Office PowerPoint</Application>
  <PresentationFormat>Personalizzato</PresentationFormat>
  <Paragraphs>167</Paragraphs>
  <Slides>4</Slides>
  <Notes>4</Notes>
  <HiddenSlides>0</HiddenSlides>
  <MMClips>0</MMClips>
  <ScaleCrop>false</ScaleCrop>
  <HeadingPairs>
    <vt:vector size="8" baseType="variant">
      <vt:variant>
        <vt:lpstr>Caratteri utilizzati</vt:lpstr>
      </vt:variant>
      <vt:variant>
        <vt:i4>6</vt:i4>
      </vt:variant>
      <vt:variant>
        <vt:lpstr>Tema</vt:lpstr>
      </vt:variant>
      <vt:variant>
        <vt:i4>1</vt:i4>
      </vt:variant>
      <vt:variant>
        <vt:lpstr>Server OLE incorporati</vt:lpstr>
      </vt:variant>
      <vt:variant>
        <vt:i4>1</vt:i4>
      </vt:variant>
      <vt:variant>
        <vt:lpstr>Titoli diapositive</vt:lpstr>
      </vt:variant>
      <vt:variant>
        <vt:i4>4</vt:i4>
      </vt:variant>
    </vt:vector>
  </HeadingPairs>
  <TitlesOfParts>
    <vt:vector size="12" baseType="lpstr">
      <vt:lpstr>Arial</vt:lpstr>
      <vt:lpstr>Calibri</vt:lpstr>
      <vt:lpstr>DWS Sans</vt:lpstr>
      <vt:lpstr>DWS Sans Bold</vt:lpstr>
      <vt:lpstr>DWS Sans Light</vt:lpstr>
      <vt:lpstr>DWS Slab Light</vt:lpstr>
      <vt:lpstr>DWS_Reports_Template_A4</vt:lpstr>
      <vt:lpstr>think-cell Folie</vt:lpstr>
      <vt:lpstr>Ottimisti, sì — euforici, no: non trascurare i rischi nei mercati </vt:lpstr>
      <vt:lpstr>Azioni europee: opportunità in crescita nei titoli dividendo</vt:lpstr>
      <vt:lpstr>La diversificazione rimane essenziale – proprio perché i mercati sono così ottimisti.</vt:lpstr>
      <vt:lpstr>Presentazione standard di PowerPoint</vt:lpstr>
    </vt:vector>
  </TitlesOfParts>
  <Company>Deutsche Ban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nnika Enders</dc:creator>
  <cp:keywords>Public</cp:keywords>
  <cp:lastModifiedBy>Virginia Demichelis</cp:lastModifiedBy>
  <cp:revision>7191</cp:revision>
  <cp:lastPrinted>2025-06-11T14:27:32Z</cp:lastPrinted>
  <dcterms:created xsi:type="dcterms:W3CDTF">2019-11-19T10:43:52Z</dcterms:created>
  <dcterms:modified xsi:type="dcterms:W3CDTF">2026-02-26T14:07: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61171080-cb47-4376-b26e-81ef05d28edc</vt:lpwstr>
  </property>
  <property fmtid="{D5CDD505-2E9C-101B-9397-08002B2CF9AE}" pid="3" name="MSIP_Label_958510b9-3810-472f-9abf-3a689c488070_Enabled">
    <vt:lpwstr>true</vt:lpwstr>
  </property>
  <property fmtid="{D5CDD505-2E9C-101B-9397-08002B2CF9AE}" pid="4" name="MSIP_Label_958510b9-3810-472f-9abf-3a689c488070_SetDate">
    <vt:lpwstr>2024-11-08T09:07:34Z</vt:lpwstr>
  </property>
  <property fmtid="{D5CDD505-2E9C-101B-9397-08002B2CF9AE}" pid="5" name="MSIP_Label_958510b9-3810-472f-9abf-3a689c488070_Method">
    <vt:lpwstr>Standard</vt:lpwstr>
  </property>
  <property fmtid="{D5CDD505-2E9C-101B-9397-08002B2CF9AE}" pid="6" name="MSIP_Label_958510b9-3810-472f-9abf-3a689c488070_Name">
    <vt:lpwstr>958510b9-3810-472f-9abf-3a689c488070</vt:lpwstr>
  </property>
  <property fmtid="{D5CDD505-2E9C-101B-9397-08002B2CF9AE}" pid="7" name="MSIP_Label_958510b9-3810-472f-9abf-3a689c488070_SiteId">
    <vt:lpwstr>1e9b61e8-e590-4abc-b1af-24125e330d2a</vt:lpwstr>
  </property>
  <property fmtid="{D5CDD505-2E9C-101B-9397-08002B2CF9AE}" pid="8" name="MSIP_Label_958510b9-3810-472f-9abf-3a689c488070_ActionId">
    <vt:lpwstr>257b1489-60b6-4488-840a-8f2999db2fa3</vt:lpwstr>
  </property>
  <property fmtid="{D5CDD505-2E9C-101B-9397-08002B2CF9AE}" pid="9" name="MSIP_Label_958510b9-3810-472f-9abf-3a689c488070_ContentBits">
    <vt:lpwstr>3</vt:lpwstr>
  </property>
  <property fmtid="{D5CDD505-2E9C-101B-9397-08002B2CF9AE}" pid="10" name="db.comClassification">
    <vt:lpwstr>Public</vt:lpwstr>
  </property>
  <property fmtid="{D5CDD505-2E9C-101B-9397-08002B2CF9AE}" pid="11" name="ContentTypeId">
    <vt:lpwstr>0x0101006037770A0FF7B64AB7BD98B5E907E2D2</vt:lpwstr>
  </property>
  <property fmtid="{D5CDD505-2E9C-101B-9397-08002B2CF9AE}" pid="12" name="MediaServiceImageTags">
    <vt:lpwstr/>
  </property>
</Properties>
</file>